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89"/>
  </p:notesMasterIdLst>
  <p:handoutMasterIdLst>
    <p:handoutMasterId r:id="rId90"/>
  </p:handoutMasterIdLst>
  <p:sldIdLst>
    <p:sldId id="800" r:id="rId5"/>
    <p:sldId id="681" r:id="rId6"/>
    <p:sldId id="682" r:id="rId7"/>
    <p:sldId id="678" r:id="rId8"/>
    <p:sldId id="689" r:id="rId9"/>
    <p:sldId id="683" r:id="rId10"/>
    <p:sldId id="687" r:id="rId11"/>
    <p:sldId id="710" r:id="rId12"/>
    <p:sldId id="734" r:id="rId13"/>
    <p:sldId id="735" r:id="rId14"/>
    <p:sldId id="714" r:id="rId15"/>
    <p:sldId id="785" r:id="rId16"/>
    <p:sldId id="786" r:id="rId17"/>
    <p:sldId id="712" r:id="rId18"/>
    <p:sldId id="715" r:id="rId19"/>
    <p:sldId id="733" r:id="rId20"/>
    <p:sldId id="789" r:id="rId21"/>
    <p:sldId id="707" r:id="rId22"/>
    <p:sldId id="716" r:id="rId23"/>
    <p:sldId id="718" r:id="rId24"/>
    <p:sldId id="717" r:id="rId25"/>
    <p:sldId id="703" r:id="rId26"/>
    <p:sldId id="704" r:id="rId27"/>
    <p:sldId id="719" r:id="rId28"/>
    <p:sldId id="698" r:id="rId29"/>
    <p:sldId id="699" r:id="rId30"/>
    <p:sldId id="737" r:id="rId31"/>
    <p:sldId id="738" r:id="rId32"/>
    <p:sldId id="739" r:id="rId33"/>
    <p:sldId id="740" r:id="rId34"/>
    <p:sldId id="741" r:id="rId35"/>
    <p:sldId id="790" r:id="rId36"/>
    <p:sldId id="787" r:id="rId37"/>
    <p:sldId id="744" r:id="rId38"/>
    <p:sldId id="720" r:id="rId39"/>
    <p:sldId id="723" r:id="rId40"/>
    <p:sldId id="700" r:id="rId41"/>
    <p:sldId id="701" r:id="rId42"/>
    <p:sldId id="721" r:id="rId43"/>
    <p:sldId id="745" r:id="rId44"/>
    <p:sldId id="746" r:id="rId45"/>
    <p:sldId id="791" r:id="rId46"/>
    <p:sldId id="788" r:id="rId47"/>
    <p:sldId id="749" r:id="rId48"/>
    <p:sldId id="722" r:id="rId49"/>
    <p:sldId id="750" r:id="rId50"/>
    <p:sldId id="724" r:id="rId51"/>
    <p:sldId id="751" r:id="rId52"/>
    <p:sldId id="726" r:id="rId53"/>
    <p:sldId id="727" r:id="rId54"/>
    <p:sldId id="792" r:id="rId55"/>
    <p:sldId id="728" r:id="rId56"/>
    <p:sldId id="729" r:id="rId57"/>
    <p:sldId id="753" r:id="rId58"/>
    <p:sldId id="731" r:id="rId59"/>
    <p:sldId id="793" r:id="rId60"/>
    <p:sldId id="754" r:id="rId61"/>
    <p:sldId id="755" r:id="rId62"/>
    <p:sldId id="756" r:id="rId63"/>
    <p:sldId id="798" r:id="rId64"/>
    <p:sldId id="799" r:id="rId65"/>
    <p:sldId id="757" r:id="rId66"/>
    <p:sldId id="759" r:id="rId67"/>
    <p:sldId id="794" r:id="rId68"/>
    <p:sldId id="760" r:id="rId69"/>
    <p:sldId id="761" r:id="rId70"/>
    <p:sldId id="762" r:id="rId71"/>
    <p:sldId id="795" r:id="rId72"/>
    <p:sldId id="796" r:id="rId73"/>
    <p:sldId id="765" r:id="rId74"/>
    <p:sldId id="766" r:id="rId75"/>
    <p:sldId id="767" r:id="rId76"/>
    <p:sldId id="769" r:id="rId77"/>
    <p:sldId id="770" r:id="rId78"/>
    <p:sldId id="771" r:id="rId79"/>
    <p:sldId id="772" r:id="rId80"/>
    <p:sldId id="773" r:id="rId81"/>
    <p:sldId id="774" r:id="rId82"/>
    <p:sldId id="776" r:id="rId83"/>
    <p:sldId id="777" r:id="rId84"/>
    <p:sldId id="778" r:id="rId85"/>
    <p:sldId id="797" r:id="rId86"/>
    <p:sldId id="784" r:id="rId87"/>
    <p:sldId id="692" r:id="rId88"/>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2496B7-485F-7B69-F7DE-F8CDD527168F}" name="Paula Whyte ( Momentum Consulting )" initials="PW(MC)" userId="S::paula@momentumconsulting.ie::a1b8e930-d272-4933-b1a2-fcb29f5bf11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60BA47"/>
    <a:srgbClr val="DB176A"/>
    <a:srgbClr val="2094D2"/>
    <a:srgbClr val="F99F27"/>
    <a:srgbClr val="E87A33"/>
    <a:srgbClr val="1D93D1"/>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80" autoAdjust="0"/>
    <p:restoredTop sz="93934"/>
  </p:normalViewPr>
  <p:slideViewPr>
    <p:cSldViewPr snapToGrid="0" snapToObjects="1">
      <p:cViewPr varScale="1">
        <p:scale>
          <a:sx n="59" d="100"/>
          <a:sy n="59" d="100"/>
        </p:scale>
        <p:origin x="1020" y="4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handoutMaster" Target="handoutMasters/handoutMaster1.xml"/><Relationship Id="rId95"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presProps" Target="pres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bie Melia  (EU Projects &amp; Communication Specialist)" userId="2d1a2eb5-dfb4-4d11-8423-60408b1fc395" providerId="ADAL" clId="{806B264C-D38E-4E1A-BD23-C778FDE27625}"/>
    <pc:docChg chg="custSel addSld modSld">
      <pc:chgData name="Albie Melia  (EU Projects &amp; Communication Specialist)" userId="2d1a2eb5-dfb4-4d11-8423-60408b1fc395" providerId="ADAL" clId="{806B264C-D38E-4E1A-BD23-C778FDE27625}" dt="2024-08-15T11:27:42.809" v="71" actId="14826"/>
      <pc:docMkLst>
        <pc:docMk/>
      </pc:docMkLst>
      <pc:sldChg chg="addSp delSp modSp add mod">
        <pc:chgData name="Albie Melia  (EU Projects &amp; Communication Specialist)" userId="2d1a2eb5-dfb4-4d11-8423-60408b1fc395" providerId="ADAL" clId="{806B264C-D38E-4E1A-BD23-C778FDE27625}" dt="2024-08-15T11:27:33.400" v="70" actId="14826"/>
        <pc:sldMkLst>
          <pc:docMk/>
          <pc:sldMk cId="2844764096" sldId="798"/>
        </pc:sldMkLst>
        <pc:spChg chg="mod">
          <ac:chgData name="Albie Melia  (EU Projects &amp; Communication Specialist)" userId="2d1a2eb5-dfb4-4d11-8423-60408b1fc395" providerId="ADAL" clId="{806B264C-D38E-4E1A-BD23-C778FDE27625}" dt="2024-08-15T11:26:37.845" v="66" actId="20577"/>
          <ac:spMkLst>
            <pc:docMk/>
            <pc:sldMk cId="2844764096" sldId="798"/>
            <ac:spMk id="3" creationId="{A69C84D3-DAB8-A256-725D-6358D9E3C675}"/>
          </ac:spMkLst>
        </pc:spChg>
        <pc:spChg chg="mod">
          <ac:chgData name="Albie Melia  (EU Projects &amp; Communication Specialist)" userId="2d1a2eb5-dfb4-4d11-8423-60408b1fc395" providerId="ADAL" clId="{806B264C-D38E-4E1A-BD23-C778FDE27625}" dt="2024-08-15T11:26:10.297" v="45" actId="207"/>
          <ac:spMkLst>
            <pc:docMk/>
            <pc:sldMk cId="2844764096" sldId="798"/>
            <ac:spMk id="4" creationId="{D763B87B-2E45-7F3C-D8C8-7BD1498202C7}"/>
          </ac:spMkLst>
        </pc:spChg>
        <pc:picChg chg="del">
          <ac:chgData name="Albie Melia  (EU Projects &amp; Communication Specialist)" userId="2d1a2eb5-dfb4-4d11-8423-60408b1fc395" providerId="ADAL" clId="{806B264C-D38E-4E1A-BD23-C778FDE27625}" dt="2024-08-15T11:23:44.160" v="2" actId="478"/>
          <ac:picMkLst>
            <pc:docMk/>
            <pc:sldMk cId="2844764096" sldId="798"/>
            <ac:picMk id="5" creationId="{97774220-F64F-4F6A-AD6A-CC9FCF68DEBE}"/>
          </ac:picMkLst>
        </pc:picChg>
        <pc:picChg chg="add mod">
          <ac:chgData name="Albie Melia  (EU Projects &amp; Communication Specialist)" userId="2d1a2eb5-dfb4-4d11-8423-60408b1fc395" providerId="ADAL" clId="{806B264C-D38E-4E1A-BD23-C778FDE27625}" dt="2024-08-15T11:26:29.751" v="48" actId="1076"/>
          <ac:picMkLst>
            <pc:docMk/>
            <pc:sldMk cId="2844764096" sldId="798"/>
            <ac:picMk id="6" creationId="{2C08C0BE-EEED-000C-EA37-3651796F26A5}"/>
          </ac:picMkLst>
        </pc:picChg>
        <pc:picChg chg="mod">
          <ac:chgData name="Albie Melia  (EU Projects &amp; Communication Specialist)" userId="2d1a2eb5-dfb4-4d11-8423-60408b1fc395" providerId="ADAL" clId="{806B264C-D38E-4E1A-BD23-C778FDE27625}" dt="2024-08-15T11:27:33.400" v="70" actId="14826"/>
          <ac:picMkLst>
            <pc:docMk/>
            <pc:sldMk cId="2844764096" sldId="798"/>
            <ac:picMk id="8" creationId="{8CE312B4-DCAE-B8BB-AAB4-FDD6740BF982}"/>
          </ac:picMkLst>
        </pc:picChg>
      </pc:sldChg>
      <pc:sldChg chg="modSp add mod">
        <pc:chgData name="Albie Melia  (EU Projects &amp; Communication Specialist)" userId="2d1a2eb5-dfb4-4d11-8423-60408b1fc395" providerId="ADAL" clId="{806B264C-D38E-4E1A-BD23-C778FDE27625}" dt="2024-08-15T11:27:42.809" v="71" actId="14826"/>
        <pc:sldMkLst>
          <pc:docMk/>
          <pc:sldMk cId="3376115242" sldId="799"/>
        </pc:sldMkLst>
        <pc:spChg chg="mod">
          <ac:chgData name="Albie Melia  (EU Projects &amp; Communication Specialist)" userId="2d1a2eb5-dfb4-4d11-8423-60408b1fc395" providerId="ADAL" clId="{806B264C-D38E-4E1A-BD23-C778FDE27625}" dt="2024-08-15T11:27:13.341" v="69" actId="113"/>
          <ac:spMkLst>
            <pc:docMk/>
            <pc:sldMk cId="3376115242" sldId="799"/>
            <ac:spMk id="4" creationId="{722C3960-840E-3973-FCD8-4ABF8E80BCA7}"/>
          </ac:spMkLst>
        </pc:spChg>
        <pc:picChg chg="mod">
          <ac:chgData name="Albie Melia  (EU Projects &amp; Communication Specialist)" userId="2d1a2eb5-dfb4-4d11-8423-60408b1fc395" providerId="ADAL" clId="{806B264C-D38E-4E1A-BD23-C778FDE27625}" dt="2024-08-15T11:27:42.809" v="71" actId="14826"/>
          <ac:picMkLst>
            <pc:docMk/>
            <pc:sldMk cId="3376115242" sldId="799"/>
            <ac:picMk id="6" creationId="{C31853AF-79E4-8C3D-9047-8EB9C6DA145E}"/>
          </ac:picMkLst>
        </pc:picChg>
      </pc:sldChg>
    </pc:docChg>
  </pc:docChgLst>
  <pc:docChgLst>
    <pc:chgData name="Albie Melia  (EU Projects &amp; Communication Specialist)" userId="2d1a2eb5-dfb4-4d11-8423-60408b1fc395" providerId="ADAL" clId="{A47526F3-5920-42D8-9700-FD6D77559717}"/>
    <pc:docChg chg="undo custSel addSld delSld modSld sldOrd">
      <pc:chgData name="Albie Melia  (EU Projects &amp; Communication Specialist)" userId="2d1a2eb5-dfb4-4d11-8423-60408b1fc395" providerId="ADAL" clId="{A47526F3-5920-42D8-9700-FD6D77559717}" dt="2024-07-12T15:09:44.350" v="2296" actId="1076"/>
      <pc:docMkLst>
        <pc:docMk/>
      </pc:docMkLst>
      <pc:sldChg chg="ord">
        <pc:chgData name="Albie Melia  (EU Projects &amp; Communication Specialist)" userId="2d1a2eb5-dfb4-4d11-8423-60408b1fc395" providerId="ADAL" clId="{A47526F3-5920-42D8-9700-FD6D77559717}" dt="2024-07-09T11:48:22.730" v="217"/>
        <pc:sldMkLst>
          <pc:docMk/>
          <pc:sldMk cId="3996798459" sldId="668"/>
        </pc:sldMkLst>
      </pc:sldChg>
      <pc:sldChg chg="modSp mod">
        <pc:chgData name="Albie Melia  (EU Projects &amp; Communication Specialist)" userId="2d1a2eb5-dfb4-4d11-8423-60408b1fc395" providerId="ADAL" clId="{A47526F3-5920-42D8-9700-FD6D77559717}" dt="2024-07-09T10:59:55.710" v="14" actId="20577"/>
        <pc:sldMkLst>
          <pc:docMk/>
          <pc:sldMk cId="2924682848" sldId="678"/>
        </pc:sldMkLst>
        <pc:spChg chg="mod">
          <ac:chgData name="Albie Melia  (EU Projects &amp; Communication Specialist)" userId="2d1a2eb5-dfb4-4d11-8423-60408b1fc395" providerId="ADAL" clId="{A47526F3-5920-42D8-9700-FD6D77559717}" dt="2024-07-09T10:59:55.710" v="14" actId="20577"/>
          <ac:spMkLst>
            <pc:docMk/>
            <pc:sldMk cId="2924682848" sldId="678"/>
            <ac:spMk id="67" creationId="{76EC7856-B0EC-004E-A2BE-9CF77555B8D1}"/>
          </ac:spMkLst>
        </pc:spChg>
      </pc:sldChg>
      <pc:sldChg chg="modSp mod">
        <pc:chgData name="Albie Melia  (EU Projects &amp; Communication Specialist)" userId="2d1a2eb5-dfb4-4d11-8423-60408b1fc395" providerId="ADAL" clId="{A47526F3-5920-42D8-9700-FD6D77559717}" dt="2024-07-09T11:15:24.888" v="26" actId="1035"/>
        <pc:sldMkLst>
          <pc:docMk/>
          <pc:sldMk cId="4010686532" sldId="681"/>
        </pc:sldMkLst>
        <pc:spChg chg="mod">
          <ac:chgData name="Albie Melia  (EU Projects &amp; Communication Specialist)" userId="2d1a2eb5-dfb4-4d11-8423-60408b1fc395" providerId="ADAL" clId="{A47526F3-5920-42D8-9700-FD6D77559717}" dt="2024-07-09T11:15:24.888" v="26" actId="1035"/>
          <ac:spMkLst>
            <pc:docMk/>
            <pc:sldMk cId="4010686532" sldId="681"/>
            <ac:spMk id="11" creationId="{24ED337C-F64E-DA49-AD56-28A14BCEEFB2}"/>
          </ac:spMkLst>
        </pc:spChg>
      </pc:sldChg>
      <pc:sldChg chg="modSp mod">
        <pc:chgData name="Albie Melia  (EU Projects &amp; Communication Specialist)" userId="2d1a2eb5-dfb4-4d11-8423-60408b1fc395" providerId="ADAL" clId="{A47526F3-5920-42D8-9700-FD6D77559717}" dt="2024-07-09T11:15:35.216" v="28"/>
        <pc:sldMkLst>
          <pc:docMk/>
          <pc:sldMk cId="928554424" sldId="687"/>
        </pc:sldMkLst>
        <pc:spChg chg="mod">
          <ac:chgData name="Albie Melia  (EU Projects &amp; Communication Specialist)" userId="2d1a2eb5-dfb4-4d11-8423-60408b1fc395" providerId="ADAL" clId="{A47526F3-5920-42D8-9700-FD6D77559717}" dt="2024-07-09T11:15:35.216" v="28"/>
          <ac:spMkLst>
            <pc:docMk/>
            <pc:sldMk cId="928554424" sldId="687"/>
            <ac:spMk id="11" creationId="{09DE250D-399D-3046-A104-9E1DCF4E2437}"/>
          </ac:spMkLst>
        </pc:spChg>
      </pc:sldChg>
      <pc:sldChg chg="modSp mod">
        <pc:chgData name="Albie Melia  (EU Projects &amp; Communication Specialist)" userId="2d1a2eb5-dfb4-4d11-8423-60408b1fc395" providerId="ADAL" clId="{A47526F3-5920-42D8-9700-FD6D77559717}" dt="2024-07-09T11:23:26.667" v="60" actId="20577"/>
        <pc:sldMkLst>
          <pc:docMk/>
          <pc:sldMk cId="3578671677" sldId="689"/>
        </pc:sldMkLst>
        <pc:spChg chg="mod">
          <ac:chgData name="Albie Melia  (EU Projects &amp; Communication Specialist)" userId="2d1a2eb5-dfb4-4d11-8423-60408b1fc395" providerId="ADAL" clId="{A47526F3-5920-42D8-9700-FD6D77559717}" dt="2024-07-09T11:20:17.137" v="36" actId="20577"/>
          <ac:spMkLst>
            <pc:docMk/>
            <pc:sldMk cId="3578671677" sldId="689"/>
            <ac:spMk id="2" creationId="{8FA217D6-4AA2-CB4D-9D63-D41980307DD7}"/>
          </ac:spMkLst>
        </pc:spChg>
        <pc:spChg chg="mod">
          <ac:chgData name="Albie Melia  (EU Projects &amp; Communication Specialist)" userId="2d1a2eb5-dfb4-4d11-8423-60408b1fc395" providerId="ADAL" clId="{A47526F3-5920-42D8-9700-FD6D77559717}" dt="2024-07-09T11:23:26.667" v="60" actId="20577"/>
          <ac:spMkLst>
            <pc:docMk/>
            <pc:sldMk cId="3578671677" sldId="689"/>
            <ac:spMk id="3" creationId="{35AC186C-5DE3-6542-A610-70101C6B0F93}"/>
          </ac:spMkLst>
        </pc:spChg>
      </pc:sldChg>
      <pc:sldChg chg="del">
        <pc:chgData name="Albie Melia  (EU Projects &amp; Communication Specialist)" userId="2d1a2eb5-dfb4-4d11-8423-60408b1fc395" providerId="ADAL" clId="{A47526F3-5920-42D8-9700-FD6D77559717}" dt="2024-07-09T10:09:58.609" v="8" actId="47"/>
        <pc:sldMkLst>
          <pc:docMk/>
          <pc:sldMk cId="1104856312" sldId="695"/>
        </pc:sldMkLst>
      </pc:sldChg>
      <pc:sldChg chg="ord">
        <pc:chgData name="Albie Melia  (EU Projects &amp; Communication Specialist)" userId="2d1a2eb5-dfb4-4d11-8423-60408b1fc395" providerId="ADAL" clId="{A47526F3-5920-42D8-9700-FD6D77559717}" dt="2024-07-09T12:41:49.906" v="219"/>
        <pc:sldMkLst>
          <pc:docMk/>
          <pc:sldMk cId="661043577" sldId="697"/>
        </pc:sldMkLst>
      </pc:sldChg>
      <pc:sldChg chg="modSp mod">
        <pc:chgData name="Albie Melia  (EU Projects &amp; Communication Specialist)" userId="2d1a2eb5-dfb4-4d11-8423-60408b1fc395" providerId="ADAL" clId="{A47526F3-5920-42D8-9700-FD6D77559717}" dt="2024-07-11T12:41:44.522" v="693" actId="20577"/>
        <pc:sldMkLst>
          <pc:docMk/>
          <pc:sldMk cId="1183603540" sldId="698"/>
        </pc:sldMkLst>
        <pc:spChg chg="mod">
          <ac:chgData name="Albie Melia  (EU Projects &amp; Communication Specialist)" userId="2d1a2eb5-dfb4-4d11-8423-60408b1fc395" providerId="ADAL" clId="{A47526F3-5920-42D8-9700-FD6D77559717}" dt="2024-07-11T12:40:35.775" v="656" actId="20577"/>
          <ac:spMkLst>
            <pc:docMk/>
            <pc:sldMk cId="1183603540" sldId="698"/>
            <ac:spMk id="8" creationId="{425817A8-4434-7A42-8FDC-D5DBA4F4E62B}"/>
          </ac:spMkLst>
        </pc:spChg>
        <pc:spChg chg="mod">
          <ac:chgData name="Albie Melia  (EU Projects &amp; Communication Specialist)" userId="2d1a2eb5-dfb4-4d11-8423-60408b1fc395" providerId="ADAL" clId="{A47526F3-5920-42D8-9700-FD6D77559717}" dt="2024-07-11T12:41:44.522" v="693" actId="20577"/>
          <ac:spMkLst>
            <pc:docMk/>
            <pc:sldMk cId="1183603540" sldId="698"/>
            <ac:spMk id="10" creationId="{F8251304-71BA-DB4B-935B-6BA8C2444400}"/>
          </ac:spMkLst>
        </pc:spChg>
      </pc:sldChg>
      <pc:sldChg chg="addSp modSp mod">
        <pc:chgData name="Albie Melia  (EU Projects &amp; Communication Specialist)" userId="2d1a2eb5-dfb4-4d11-8423-60408b1fc395" providerId="ADAL" clId="{A47526F3-5920-42D8-9700-FD6D77559717}" dt="2024-07-11T12:47:54.924" v="756" actId="20577"/>
        <pc:sldMkLst>
          <pc:docMk/>
          <pc:sldMk cId="3381762566" sldId="699"/>
        </pc:sldMkLst>
        <pc:spChg chg="add">
          <ac:chgData name="Albie Melia  (EU Projects &amp; Communication Specialist)" userId="2d1a2eb5-dfb4-4d11-8423-60408b1fc395" providerId="ADAL" clId="{A47526F3-5920-42D8-9700-FD6D77559717}" dt="2024-07-11T12:42:14.626" v="694"/>
          <ac:spMkLst>
            <pc:docMk/>
            <pc:sldMk cId="3381762566" sldId="699"/>
            <ac:spMk id="2" creationId="{C31A6918-81FA-730A-8FDA-DDCC834D7B70}"/>
          </ac:spMkLst>
        </pc:spChg>
        <pc:spChg chg="add">
          <ac:chgData name="Albie Melia  (EU Projects &amp; Communication Specialist)" userId="2d1a2eb5-dfb4-4d11-8423-60408b1fc395" providerId="ADAL" clId="{A47526F3-5920-42D8-9700-FD6D77559717}" dt="2024-07-11T12:42:14.626" v="694"/>
          <ac:spMkLst>
            <pc:docMk/>
            <pc:sldMk cId="3381762566" sldId="699"/>
            <ac:spMk id="3" creationId="{C02C0221-E2EF-FD06-C327-AB841999A468}"/>
          </ac:spMkLst>
        </pc:spChg>
        <pc:spChg chg="add">
          <ac:chgData name="Albie Melia  (EU Projects &amp; Communication Specialist)" userId="2d1a2eb5-dfb4-4d11-8423-60408b1fc395" providerId="ADAL" clId="{A47526F3-5920-42D8-9700-FD6D77559717}" dt="2024-07-11T12:42:14.626" v="694"/>
          <ac:spMkLst>
            <pc:docMk/>
            <pc:sldMk cId="3381762566" sldId="699"/>
            <ac:spMk id="4" creationId="{88959A63-0ABE-3D74-D1DD-AA20A53CA32D}"/>
          </ac:spMkLst>
        </pc:spChg>
        <pc:spChg chg="add">
          <ac:chgData name="Albie Melia  (EU Projects &amp; Communication Specialist)" userId="2d1a2eb5-dfb4-4d11-8423-60408b1fc395" providerId="ADAL" clId="{A47526F3-5920-42D8-9700-FD6D77559717}" dt="2024-07-11T12:42:14.626" v="694"/>
          <ac:spMkLst>
            <pc:docMk/>
            <pc:sldMk cId="3381762566" sldId="699"/>
            <ac:spMk id="6" creationId="{5C9E3117-BBA0-C8F5-C070-BB17BA5161C8}"/>
          </ac:spMkLst>
        </pc:spChg>
        <pc:spChg chg="mod">
          <ac:chgData name="Albie Melia  (EU Projects &amp; Communication Specialist)" userId="2d1a2eb5-dfb4-4d11-8423-60408b1fc395" providerId="ADAL" clId="{A47526F3-5920-42D8-9700-FD6D77559717}" dt="2024-07-11T12:42:40.419" v="702" actId="20577"/>
          <ac:spMkLst>
            <pc:docMk/>
            <pc:sldMk cId="3381762566" sldId="699"/>
            <ac:spMk id="8" creationId="{425817A8-4434-7A42-8FDC-D5DBA4F4E62B}"/>
          </ac:spMkLst>
        </pc:spChg>
        <pc:spChg chg="mod">
          <ac:chgData name="Albie Melia  (EU Projects &amp; Communication Specialist)" userId="2d1a2eb5-dfb4-4d11-8423-60408b1fc395" providerId="ADAL" clId="{A47526F3-5920-42D8-9700-FD6D77559717}" dt="2024-07-11T12:47:54.924" v="756" actId="20577"/>
          <ac:spMkLst>
            <pc:docMk/>
            <pc:sldMk cId="3381762566" sldId="699"/>
            <ac:spMk id="10" creationId="{F8251304-71BA-DB4B-935B-6BA8C2444400}"/>
          </ac:spMkLst>
        </pc:spChg>
        <pc:spChg chg="add">
          <ac:chgData name="Albie Melia  (EU Projects &amp; Communication Specialist)" userId="2d1a2eb5-dfb4-4d11-8423-60408b1fc395" providerId="ADAL" clId="{A47526F3-5920-42D8-9700-FD6D77559717}" dt="2024-07-11T12:42:14.626" v="694"/>
          <ac:spMkLst>
            <pc:docMk/>
            <pc:sldMk cId="3381762566" sldId="699"/>
            <ac:spMk id="13" creationId="{E7355672-F977-8CD3-A8BD-61E591A663DA}"/>
          </ac:spMkLst>
        </pc:spChg>
      </pc:sldChg>
      <pc:sldChg chg="delSp modSp mod">
        <pc:chgData name="Albie Melia  (EU Projects &amp; Communication Specialist)" userId="2d1a2eb5-dfb4-4d11-8423-60408b1fc395" providerId="ADAL" clId="{A47526F3-5920-42D8-9700-FD6D77559717}" dt="2024-07-11T14:17:05.622" v="1021"/>
        <pc:sldMkLst>
          <pc:docMk/>
          <pc:sldMk cId="3294281215" sldId="700"/>
        </pc:sldMkLst>
        <pc:spChg chg="mod">
          <ac:chgData name="Albie Melia  (EU Projects &amp; Communication Specialist)" userId="2d1a2eb5-dfb4-4d11-8423-60408b1fc395" providerId="ADAL" clId="{A47526F3-5920-42D8-9700-FD6D77559717}" dt="2024-07-11T14:17:05.622" v="1021"/>
          <ac:spMkLst>
            <pc:docMk/>
            <pc:sldMk cId="3294281215" sldId="700"/>
            <ac:spMk id="8" creationId="{425817A8-4434-7A42-8FDC-D5DBA4F4E62B}"/>
          </ac:spMkLst>
        </pc:spChg>
        <pc:spChg chg="mod">
          <ac:chgData name="Albie Melia  (EU Projects &amp; Communication Specialist)" userId="2d1a2eb5-dfb4-4d11-8423-60408b1fc395" providerId="ADAL" clId="{A47526F3-5920-42D8-9700-FD6D77559717}" dt="2024-07-11T14:16:55.129" v="1019" actId="20577"/>
          <ac:spMkLst>
            <pc:docMk/>
            <pc:sldMk cId="3294281215" sldId="700"/>
            <ac:spMk id="10" creationId="{F8251304-71BA-DB4B-935B-6BA8C2444400}"/>
          </ac:spMkLst>
        </pc:spChg>
        <pc:spChg chg="del">
          <ac:chgData name="Albie Melia  (EU Projects &amp; Communication Specialist)" userId="2d1a2eb5-dfb4-4d11-8423-60408b1fc395" providerId="ADAL" clId="{A47526F3-5920-42D8-9700-FD6D77559717}" dt="2024-07-11T14:16:50.016" v="1015" actId="478"/>
          <ac:spMkLst>
            <pc:docMk/>
            <pc:sldMk cId="3294281215" sldId="700"/>
            <ac:spMk id="12" creationId="{5A16ABDA-3F84-2E4A-ACE6-166D1B9B231F}"/>
          </ac:spMkLst>
        </pc:spChg>
      </pc:sldChg>
      <pc:sldChg chg="delSp modSp mod">
        <pc:chgData name="Albie Melia  (EU Projects &amp; Communication Specialist)" userId="2d1a2eb5-dfb4-4d11-8423-60408b1fc395" providerId="ADAL" clId="{A47526F3-5920-42D8-9700-FD6D77559717}" dt="2024-07-11T14:17:46.581" v="1031" actId="20577"/>
        <pc:sldMkLst>
          <pc:docMk/>
          <pc:sldMk cId="317311209" sldId="701"/>
        </pc:sldMkLst>
        <pc:spChg chg="mod">
          <ac:chgData name="Albie Melia  (EU Projects &amp; Communication Specialist)" userId="2d1a2eb5-dfb4-4d11-8423-60408b1fc395" providerId="ADAL" clId="{A47526F3-5920-42D8-9700-FD6D77559717}" dt="2024-07-11T14:17:34.702" v="1026"/>
          <ac:spMkLst>
            <pc:docMk/>
            <pc:sldMk cId="317311209" sldId="701"/>
            <ac:spMk id="8" creationId="{425817A8-4434-7A42-8FDC-D5DBA4F4E62B}"/>
          </ac:spMkLst>
        </pc:spChg>
        <pc:spChg chg="mod">
          <ac:chgData name="Albie Melia  (EU Projects &amp; Communication Specialist)" userId="2d1a2eb5-dfb4-4d11-8423-60408b1fc395" providerId="ADAL" clId="{A47526F3-5920-42D8-9700-FD6D77559717}" dt="2024-07-11T14:17:46.581" v="1031" actId="20577"/>
          <ac:spMkLst>
            <pc:docMk/>
            <pc:sldMk cId="317311209" sldId="701"/>
            <ac:spMk id="10" creationId="{F8251304-71BA-DB4B-935B-6BA8C2444400}"/>
          </ac:spMkLst>
        </pc:spChg>
        <pc:spChg chg="del">
          <ac:chgData name="Albie Melia  (EU Projects &amp; Communication Specialist)" userId="2d1a2eb5-dfb4-4d11-8423-60408b1fc395" providerId="ADAL" clId="{A47526F3-5920-42D8-9700-FD6D77559717}" dt="2024-07-11T14:17:41.632" v="1027" actId="478"/>
          <ac:spMkLst>
            <pc:docMk/>
            <pc:sldMk cId="317311209" sldId="701"/>
            <ac:spMk id="12" creationId="{5A16ABDA-3F84-2E4A-ACE6-166D1B9B231F}"/>
          </ac:spMkLst>
        </pc:spChg>
      </pc:sldChg>
      <pc:sldChg chg="modSp mod">
        <pc:chgData name="Albie Melia  (EU Projects &amp; Communication Specialist)" userId="2d1a2eb5-dfb4-4d11-8423-60408b1fc395" providerId="ADAL" clId="{A47526F3-5920-42D8-9700-FD6D77559717}" dt="2024-07-11T12:29:00.697" v="640" actId="1076"/>
        <pc:sldMkLst>
          <pc:docMk/>
          <pc:sldMk cId="2852152955" sldId="703"/>
        </pc:sldMkLst>
        <pc:spChg chg="mod">
          <ac:chgData name="Albie Melia  (EU Projects &amp; Communication Specialist)" userId="2d1a2eb5-dfb4-4d11-8423-60408b1fc395" providerId="ADAL" clId="{A47526F3-5920-42D8-9700-FD6D77559717}" dt="2024-07-11T12:28:02.755" v="629" actId="313"/>
          <ac:spMkLst>
            <pc:docMk/>
            <pc:sldMk cId="2852152955" sldId="703"/>
            <ac:spMk id="3" creationId="{61D8C235-EF9C-BCBF-4F8F-7F2CADA42260}"/>
          </ac:spMkLst>
        </pc:spChg>
        <pc:spChg chg="mod">
          <ac:chgData name="Albie Melia  (EU Projects &amp; Communication Specialist)" userId="2d1a2eb5-dfb4-4d11-8423-60408b1fc395" providerId="ADAL" clId="{A47526F3-5920-42D8-9700-FD6D77559717}" dt="2024-07-11T12:28:31.340" v="635" actId="20577"/>
          <ac:spMkLst>
            <pc:docMk/>
            <pc:sldMk cId="2852152955" sldId="703"/>
            <ac:spMk id="5" creationId="{E6AA13D5-E327-873C-4A0C-BE99CCC422BD}"/>
          </ac:spMkLst>
        </pc:spChg>
        <pc:spChg chg="mod">
          <ac:chgData name="Albie Melia  (EU Projects &amp; Communication Specialist)" userId="2d1a2eb5-dfb4-4d11-8423-60408b1fc395" providerId="ADAL" clId="{A47526F3-5920-42D8-9700-FD6D77559717}" dt="2024-07-11T12:29:00.697" v="640" actId="1076"/>
          <ac:spMkLst>
            <pc:docMk/>
            <pc:sldMk cId="2852152955" sldId="703"/>
            <ac:spMk id="7" creationId="{DAD18C4D-738E-5E20-4A70-47667FCD743D}"/>
          </ac:spMkLst>
        </pc:spChg>
      </pc:sldChg>
      <pc:sldChg chg="modSp mod">
        <pc:chgData name="Albie Melia  (EU Projects &amp; Communication Specialist)" userId="2d1a2eb5-dfb4-4d11-8423-60408b1fc395" providerId="ADAL" clId="{A47526F3-5920-42D8-9700-FD6D77559717}" dt="2024-07-11T12:29:33.973" v="647" actId="123"/>
        <pc:sldMkLst>
          <pc:docMk/>
          <pc:sldMk cId="245377117" sldId="704"/>
        </pc:sldMkLst>
        <pc:spChg chg="mod">
          <ac:chgData name="Albie Melia  (EU Projects &amp; Communication Specialist)" userId="2d1a2eb5-dfb4-4d11-8423-60408b1fc395" providerId="ADAL" clId="{A47526F3-5920-42D8-9700-FD6D77559717}" dt="2024-07-11T12:29:17.537" v="644" actId="20577"/>
          <ac:spMkLst>
            <pc:docMk/>
            <pc:sldMk cId="245377117" sldId="704"/>
            <ac:spMk id="3" creationId="{06CA7140-FA10-8887-3971-BE0BA0CB5742}"/>
          </ac:spMkLst>
        </pc:spChg>
        <pc:spChg chg="mod">
          <ac:chgData name="Albie Melia  (EU Projects &amp; Communication Specialist)" userId="2d1a2eb5-dfb4-4d11-8423-60408b1fc395" providerId="ADAL" clId="{A47526F3-5920-42D8-9700-FD6D77559717}" dt="2024-07-11T12:29:33.973" v="647" actId="123"/>
          <ac:spMkLst>
            <pc:docMk/>
            <pc:sldMk cId="245377117" sldId="704"/>
            <ac:spMk id="5" creationId="{AFFF572B-3D16-8DCC-DA9F-26EADD2831AD}"/>
          </ac:spMkLst>
        </pc:spChg>
      </pc:sldChg>
      <pc:sldChg chg="modSp add mod">
        <pc:chgData name="Albie Melia  (EU Projects &amp; Communication Specialist)" userId="2d1a2eb5-dfb4-4d11-8423-60408b1fc395" providerId="ADAL" clId="{A47526F3-5920-42D8-9700-FD6D77559717}" dt="2024-07-11T11:56:40.471" v="612" actId="6549"/>
        <pc:sldMkLst>
          <pc:docMk/>
          <pc:sldMk cId="1869586709" sldId="707"/>
        </pc:sldMkLst>
        <pc:spChg chg="mod">
          <ac:chgData name="Albie Melia  (EU Projects &amp; Communication Specialist)" userId="2d1a2eb5-dfb4-4d11-8423-60408b1fc395" providerId="ADAL" clId="{A47526F3-5920-42D8-9700-FD6D77559717}" dt="2024-07-11T11:56:40.471" v="612" actId="6549"/>
          <ac:spMkLst>
            <pc:docMk/>
            <pc:sldMk cId="1869586709" sldId="707"/>
            <ac:spMk id="4" creationId="{03217DE6-3467-0A26-1950-9C5913DF9B0A}"/>
          </ac:spMkLst>
        </pc:spChg>
      </pc:sldChg>
      <pc:sldChg chg="modSp mod">
        <pc:chgData name="Albie Melia  (EU Projects &amp; Communication Specialist)" userId="2d1a2eb5-dfb4-4d11-8423-60408b1fc395" providerId="ADAL" clId="{A47526F3-5920-42D8-9700-FD6D77559717}" dt="2024-07-09T11:33:47.882" v="64" actId="21"/>
        <pc:sldMkLst>
          <pc:docMk/>
          <pc:sldMk cId="2947667628" sldId="710"/>
        </pc:sldMkLst>
        <pc:spChg chg="mod">
          <ac:chgData name="Albie Melia  (EU Projects &amp; Communication Specialist)" userId="2d1a2eb5-dfb4-4d11-8423-60408b1fc395" providerId="ADAL" clId="{A47526F3-5920-42D8-9700-FD6D77559717}" dt="2024-07-09T11:33:47.882" v="64" actId="21"/>
          <ac:spMkLst>
            <pc:docMk/>
            <pc:sldMk cId="2947667628" sldId="710"/>
            <ac:spMk id="67" creationId="{76EC7856-B0EC-004E-A2BE-9CF77555B8D1}"/>
          </ac:spMkLst>
        </pc:spChg>
      </pc:sldChg>
      <pc:sldChg chg="modSp mod">
        <pc:chgData name="Albie Melia  (EU Projects &amp; Communication Specialist)" userId="2d1a2eb5-dfb4-4d11-8423-60408b1fc395" providerId="ADAL" clId="{A47526F3-5920-42D8-9700-FD6D77559717}" dt="2024-07-11T11:34:15.725" v="389" actId="1076"/>
        <pc:sldMkLst>
          <pc:docMk/>
          <pc:sldMk cId="2172103933" sldId="711"/>
        </pc:sldMkLst>
        <pc:spChg chg="mod">
          <ac:chgData name="Albie Melia  (EU Projects &amp; Communication Specialist)" userId="2d1a2eb5-dfb4-4d11-8423-60408b1fc395" providerId="ADAL" clId="{A47526F3-5920-42D8-9700-FD6D77559717}" dt="2024-07-11T11:30:58.583" v="374" actId="20577"/>
          <ac:spMkLst>
            <pc:docMk/>
            <pc:sldMk cId="2172103933" sldId="711"/>
            <ac:spMk id="2" creationId="{8FA217D6-4AA2-CB4D-9D63-D41980307DD7}"/>
          </ac:spMkLst>
        </pc:spChg>
        <pc:spChg chg="mod">
          <ac:chgData name="Albie Melia  (EU Projects &amp; Communication Specialist)" userId="2d1a2eb5-dfb4-4d11-8423-60408b1fc395" providerId="ADAL" clId="{A47526F3-5920-42D8-9700-FD6D77559717}" dt="2024-07-11T11:34:15.725" v="389" actId="1076"/>
          <ac:spMkLst>
            <pc:docMk/>
            <pc:sldMk cId="2172103933" sldId="711"/>
            <ac:spMk id="3" creationId="{35AC186C-5DE3-6542-A610-70101C6B0F93}"/>
          </ac:spMkLst>
        </pc:spChg>
      </pc:sldChg>
      <pc:sldChg chg="ord">
        <pc:chgData name="Albie Melia  (EU Projects &amp; Communication Specialist)" userId="2d1a2eb5-dfb4-4d11-8423-60408b1fc395" providerId="ADAL" clId="{A47526F3-5920-42D8-9700-FD6D77559717}" dt="2024-07-11T13:17:30.814" v="946"/>
        <pc:sldMkLst>
          <pc:docMk/>
          <pc:sldMk cId="968143678" sldId="712"/>
        </pc:sldMkLst>
      </pc:sldChg>
      <pc:sldChg chg="modSp mod ord">
        <pc:chgData name="Albie Melia  (EU Projects &amp; Communication Specialist)" userId="2d1a2eb5-dfb4-4d11-8423-60408b1fc395" providerId="ADAL" clId="{A47526F3-5920-42D8-9700-FD6D77559717}" dt="2024-07-09T11:48:12.997" v="215" actId="20577"/>
        <pc:sldMkLst>
          <pc:docMk/>
          <pc:sldMk cId="2068568904" sldId="714"/>
        </pc:sldMkLst>
        <pc:spChg chg="mod">
          <ac:chgData name="Albie Melia  (EU Projects &amp; Communication Specialist)" userId="2d1a2eb5-dfb4-4d11-8423-60408b1fc395" providerId="ADAL" clId="{A47526F3-5920-42D8-9700-FD6D77559717}" dt="2024-07-09T11:47:44.372" v="149" actId="14100"/>
          <ac:spMkLst>
            <pc:docMk/>
            <pc:sldMk cId="2068568904" sldId="714"/>
            <ac:spMk id="8" creationId="{71FCCA58-E6AE-D030-CB6C-0809439C7D2B}"/>
          </ac:spMkLst>
        </pc:spChg>
        <pc:spChg chg="mod">
          <ac:chgData name="Albie Melia  (EU Projects &amp; Communication Specialist)" userId="2d1a2eb5-dfb4-4d11-8423-60408b1fc395" providerId="ADAL" clId="{A47526F3-5920-42D8-9700-FD6D77559717}" dt="2024-07-09T11:48:12.997" v="215" actId="20577"/>
          <ac:spMkLst>
            <pc:docMk/>
            <pc:sldMk cId="2068568904" sldId="714"/>
            <ac:spMk id="67" creationId="{76EC7856-B0EC-004E-A2BE-9CF77555B8D1}"/>
          </ac:spMkLst>
        </pc:spChg>
      </pc:sldChg>
      <pc:sldChg chg="ord">
        <pc:chgData name="Albie Melia  (EU Projects &amp; Communication Specialist)" userId="2d1a2eb5-dfb4-4d11-8423-60408b1fc395" providerId="ADAL" clId="{A47526F3-5920-42D8-9700-FD6D77559717}" dt="2024-07-09T12:42:16.127" v="221"/>
        <pc:sldMkLst>
          <pc:docMk/>
          <pc:sldMk cId="1418946707" sldId="715"/>
        </pc:sldMkLst>
      </pc:sldChg>
      <pc:sldChg chg="modSp mod">
        <pc:chgData name="Albie Melia  (EU Projects &amp; Communication Specialist)" userId="2d1a2eb5-dfb4-4d11-8423-60408b1fc395" providerId="ADAL" clId="{A47526F3-5920-42D8-9700-FD6D77559717}" dt="2024-07-11T14:32:53.182" v="1160" actId="20577"/>
        <pc:sldMkLst>
          <pc:docMk/>
          <pc:sldMk cId="775120431" sldId="716"/>
        </pc:sldMkLst>
        <pc:spChg chg="mod">
          <ac:chgData name="Albie Melia  (EU Projects &amp; Communication Specialist)" userId="2d1a2eb5-dfb4-4d11-8423-60408b1fc395" providerId="ADAL" clId="{A47526F3-5920-42D8-9700-FD6D77559717}" dt="2024-07-11T14:32:53.182" v="1160" actId="20577"/>
          <ac:spMkLst>
            <pc:docMk/>
            <pc:sldMk cId="775120431" sldId="716"/>
            <ac:spMk id="3" creationId="{DA99C726-EEB8-A064-EA02-A4AF797D25D2}"/>
          </ac:spMkLst>
        </pc:spChg>
      </pc:sldChg>
      <pc:sldChg chg="modSp mod">
        <pc:chgData name="Albie Melia  (EU Projects &amp; Communication Specialist)" userId="2d1a2eb5-dfb4-4d11-8423-60408b1fc395" providerId="ADAL" clId="{A47526F3-5920-42D8-9700-FD6D77559717}" dt="2024-07-11T12:27:38.555" v="625" actId="20577"/>
        <pc:sldMkLst>
          <pc:docMk/>
          <pc:sldMk cId="975074725" sldId="717"/>
        </pc:sldMkLst>
        <pc:spChg chg="mod">
          <ac:chgData name="Albie Melia  (EU Projects &amp; Communication Specialist)" userId="2d1a2eb5-dfb4-4d11-8423-60408b1fc395" providerId="ADAL" clId="{A47526F3-5920-42D8-9700-FD6D77559717}" dt="2024-07-11T12:27:38.555" v="625" actId="20577"/>
          <ac:spMkLst>
            <pc:docMk/>
            <pc:sldMk cId="975074725" sldId="717"/>
            <ac:spMk id="3" creationId="{35AC186C-5DE3-6542-A610-70101C6B0F93}"/>
          </ac:spMkLst>
        </pc:spChg>
      </pc:sldChg>
      <pc:sldChg chg="modSp mod">
        <pc:chgData name="Albie Melia  (EU Projects &amp; Communication Specialist)" userId="2d1a2eb5-dfb4-4d11-8423-60408b1fc395" providerId="ADAL" clId="{A47526F3-5920-42D8-9700-FD6D77559717}" dt="2024-07-11T12:32:35.597" v="649"/>
        <pc:sldMkLst>
          <pc:docMk/>
          <pc:sldMk cId="2670770982" sldId="719"/>
        </pc:sldMkLst>
        <pc:spChg chg="mod">
          <ac:chgData name="Albie Melia  (EU Projects &amp; Communication Specialist)" userId="2d1a2eb5-dfb4-4d11-8423-60408b1fc395" providerId="ADAL" clId="{A47526F3-5920-42D8-9700-FD6D77559717}" dt="2024-07-11T12:32:35.597" v="649"/>
          <ac:spMkLst>
            <pc:docMk/>
            <pc:sldMk cId="2670770982" sldId="719"/>
            <ac:spMk id="3" creationId="{35AC186C-5DE3-6542-A610-70101C6B0F93}"/>
          </ac:spMkLst>
        </pc:spChg>
      </pc:sldChg>
      <pc:sldChg chg="modSp mod">
        <pc:chgData name="Albie Melia  (EU Projects &amp; Communication Specialist)" userId="2d1a2eb5-dfb4-4d11-8423-60408b1fc395" providerId="ADAL" clId="{A47526F3-5920-42D8-9700-FD6D77559717}" dt="2024-07-11T14:32:58.947" v="1162" actId="20577"/>
        <pc:sldMkLst>
          <pc:docMk/>
          <pc:sldMk cId="2984520553" sldId="720"/>
        </pc:sldMkLst>
        <pc:spChg chg="mod">
          <ac:chgData name="Albie Melia  (EU Projects &amp; Communication Specialist)" userId="2d1a2eb5-dfb4-4d11-8423-60408b1fc395" providerId="ADAL" clId="{A47526F3-5920-42D8-9700-FD6D77559717}" dt="2024-07-11T14:32:58.947" v="1162" actId="20577"/>
          <ac:spMkLst>
            <pc:docMk/>
            <pc:sldMk cId="2984520553" sldId="720"/>
            <ac:spMk id="3" creationId="{DA99C726-EEB8-A064-EA02-A4AF797D25D2}"/>
          </ac:spMkLst>
        </pc:spChg>
        <pc:spChg chg="mod">
          <ac:chgData name="Albie Melia  (EU Projects &amp; Communication Specialist)" userId="2d1a2eb5-dfb4-4d11-8423-60408b1fc395" providerId="ADAL" clId="{A47526F3-5920-42D8-9700-FD6D77559717}" dt="2024-07-11T13:25:47.485" v="1003"/>
          <ac:spMkLst>
            <pc:docMk/>
            <pc:sldMk cId="2984520553" sldId="720"/>
            <ac:spMk id="11" creationId="{09DE250D-399D-3046-A104-9E1DCF4E2437}"/>
          </ac:spMkLst>
        </pc:spChg>
      </pc:sldChg>
      <pc:sldChg chg="delSp modSp mod">
        <pc:chgData name="Albie Melia  (EU Projects &amp; Communication Specialist)" userId="2d1a2eb5-dfb4-4d11-8423-60408b1fc395" providerId="ADAL" clId="{A47526F3-5920-42D8-9700-FD6D77559717}" dt="2024-07-11T14:18:24.058" v="1042" actId="1076"/>
        <pc:sldMkLst>
          <pc:docMk/>
          <pc:sldMk cId="4203991159" sldId="721"/>
        </pc:sldMkLst>
        <pc:spChg chg="mod">
          <ac:chgData name="Albie Melia  (EU Projects &amp; Communication Specialist)" userId="2d1a2eb5-dfb4-4d11-8423-60408b1fc395" providerId="ADAL" clId="{A47526F3-5920-42D8-9700-FD6D77559717}" dt="2024-07-11T14:18:24.058" v="1042" actId="1076"/>
          <ac:spMkLst>
            <pc:docMk/>
            <pc:sldMk cId="4203991159" sldId="721"/>
            <ac:spMk id="8" creationId="{425817A8-4434-7A42-8FDC-D5DBA4F4E62B}"/>
          </ac:spMkLst>
        </pc:spChg>
        <pc:spChg chg="mod">
          <ac:chgData name="Albie Melia  (EU Projects &amp; Communication Specialist)" userId="2d1a2eb5-dfb4-4d11-8423-60408b1fc395" providerId="ADAL" clId="{A47526F3-5920-42D8-9700-FD6D77559717}" dt="2024-07-11T14:18:13.839" v="1038" actId="21"/>
          <ac:spMkLst>
            <pc:docMk/>
            <pc:sldMk cId="4203991159" sldId="721"/>
            <ac:spMk id="10" creationId="{F8251304-71BA-DB4B-935B-6BA8C2444400}"/>
          </ac:spMkLst>
        </pc:spChg>
        <pc:spChg chg="del">
          <ac:chgData name="Albie Melia  (EU Projects &amp; Communication Specialist)" userId="2d1a2eb5-dfb4-4d11-8423-60408b1fc395" providerId="ADAL" clId="{A47526F3-5920-42D8-9700-FD6D77559717}" dt="2024-07-11T14:18:07.033" v="1033" actId="478"/>
          <ac:spMkLst>
            <pc:docMk/>
            <pc:sldMk cId="4203991159" sldId="721"/>
            <ac:spMk id="12" creationId="{5A16ABDA-3F84-2E4A-ACE6-166D1B9B231F}"/>
          </ac:spMkLst>
        </pc:spChg>
      </pc:sldChg>
      <pc:sldChg chg="modSp mod">
        <pc:chgData name="Albie Melia  (EU Projects &amp; Communication Specialist)" userId="2d1a2eb5-dfb4-4d11-8423-60408b1fc395" providerId="ADAL" clId="{A47526F3-5920-42D8-9700-FD6D77559717}" dt="2024-07-11T15:01:50.896" v="1209"/>
        <pc:sldMkLst>
          <pc:docMk/>
          <pc:sldMk cId="1029575927" sldId="722"/>
        </pc:sldMkLst>
        <pc:spChg chg="mod">
          <ac:chgData name="Albie Melia  (EU Projects &amp; Communication Specialist)" userId="2d1a2eb5-dfb4-4d11-8423-60408b1fc395" providerId="ADAL" clId="{A47526F3-5920-42D8-9700-FD6D77559717}" dt="2024-07-11T14:33:03.216" v="1164" actId="20577"/>
          <ac:spMkLst>
            <pc:docMk/>
            <pc:sldMk cId="1029575927" sldId="722"/>
            <ac:spMk id="3" creationId="{DA99C726-EEB8-A064-EA02-A4AF797D25D2}"/>
          </ac:spMkLst>
        </pc:spChg>
        <pc:spChg chg="mod">
          <ac:chgData name="Albie Melia  (EU Projects &amp; Communication Specialist)" userId="2d1a2eb5-dfb4-4d11-8423-60408b1fc395" providerId="ADAL" clId="{A47526F3-5920-42D8-9700-FD6D77559717}" dt="2024-07-11T15:01:50.896" v="1209"/>
          <ac:spMkLst>
            <pc:docMk/>
            <pc:sldMk cId="1029575927" sldId="722"/>
            <ac:spMk id="11" creationId="{09DE250D-399D-3046-A104-9E1DCF4E2437}"/>
          </ac:spMkLst>
        </pc:spChg>
      </pc:sldChg>
      <pc:sldChg chg="modSp mod ord">
        <pc:chgData name="Albie Melia  (EU Projects &amp; Communication Specialist)" userId="2d1a2eb5-dfb4-4d11-8423-60408b1fc395" providerId="ADAL" clId="{A47526F3-5920-42D8-9700-FD6D77559717}" dt="2024-07-11T13:28:56.531" v="1010" actId="20577"/>
        <pc:sldMkLst>
          <pc:docMk/>
          <pc:sldMk cId="146350583" sldId="723"/>
        </pc:sldMkLst>
        <pc:spChg chg="mod">
          <ac:chgData name="Albie Melia  (EU Projects &amp; Communication Specialist)" userId="2d1a2eb5-dfb4-4d11-8423-60408b1fc395" providerId="ADAL" clId="{A47526F3-5920-42D8-9700-FD6D77559717}" dt="2024-07-11T13:28:56.531" v="1010" actId="20577"/>
          <ac:spMkLst>
            <pc:docMk/>
            <pc:sldMk cId="146350583" sldId="723"/>
            <ac:spMk id="67" creationId="{76EC7856-B0EC-004E-A2BE-9CF77555B8D1}"/>
          </ac:spMkLst>
        </pc:spChg>
      </pc:sldChg>
      <pc:sldChg chg="modSp mod">
        <pc:chgData name="Albie Melia  (EU Projects &amp; Communication Specialist)" userId="2d1a2eb5-dfb4-4d11-8423-60408b1fc395" providerId="ADAL" clId="{A47526F3-5920-42D8-9700-FD6D77559717}" dt="2024-07-11T15:14:50.950" v="1253" actId="1035"/>
        <pc:sldMkLst>
          <pc:docMk/>
          <pc:sldMk cId="438790462" sldId="724"/>
        </pc:sldMkLst>
        <pc:spChg chg="mod">
          <ac:chgData name="Albie Melia  (EU Projects &amp; Communication Specialist)" userId="2d1a2eb5-dfb4-4d11-8423-60408b1fc395" providerId="ADAL" clId="{A47526F3-5920-42D8-9700-FD6D77559717}" dt="2024-07-11T15:13:45.371" v="1233" actId="20577"/>
          <ac:spMkLst>
            <pc:docMk/>
            <pc:sldMk cId="438790462" sldId="724"/>
            <ac:spMk id="2" creationId="{1EAF5495-4573-34EC-1875-9135E0DCD272}"/>
          </ac:spMkLst>
        </pc:spChg>
        <pc:spChg chg="mod">
          <ac:chgData name="Albie Melia  (EU Projects &amp; Communication Specialist)" userId="2d1a2eb5-dfb4-4d11-8423-60408b1fc395" providerId="ADAL" clId="{A47526F3-5920-42D8-9700-FD6D77559717}" dt="2024-07-11T15:13:43.041" v="1231" actId="21"/>
          <ac:spMkLst>
            <pc:docMk/>
            <pc:sldMk cId="438790462" sldId="724"/>
            <ac:spMk id="3" creationId="{61D8C235-EF9C-BCBF-4F8F-7F2CADA42260}"/>
          </ac:spMkLst>
        </pc:spChg>
        <pc:spChg chg="mod">
          <ac:chgData name="Albie Melia  (EU Projects &amp; Communication Specialist)" userId="2d1a2eb5-dfb4-4d11-8423-60408b1fc395" providerId="ADAL" clId="{A47526F3-5920-42D8-9700-FD6D77559717}" dt="2024-07-11T15:14:02.753" v="1237" actId="20577"/>
          <ac:spMkLst>
            <pc:docMk/>
            <pc:sldMk cId="438790462" sldId="724"/>
            <ac:spMk id="4" creationId="{5F095870-C567-AE12-61EE-8EDAEC6D16B5}"/>
          </ac:spMkLst>
        </pc:spChg>
        <pc:spChg chg="mod">
          <ac:chgData name="Albie Melia  (EU Projects &amp; Communication Specialist)" userId="2d1a2eb5-dfb4-4d11-8423-60408b1fc395" providerId="ADAL" clId="{A47526F3-5920-42D8-9700-FD6D77559717}" dt="2024-07-11T15:14:09.017" v="1239" actId="123"/>
          <ac:spMkLst>
            <pc:docMk/>
            <pc:sldMk cId="438790462" sldId="724"/>
            <ac:spMk id="5" creationId="{E6AA13D5-E327-873C-4A0C-BE99CCC422BD}"/>
          </ac:spMkLst>
        </pc:spChg>
        <pc:spChg chg="mod">
          <ac:chgData name="Albie Melia  (EU Projects &amp; Communication Specialist)" userId="2d1a2eb5-dfb4-4d11-8423-60408b1fc395" providerId="ADAL" clId="{A47526F3-5920-42D8-9700-FD6D77559717}" dt="2024-07-11T15:14:32.870" v="1245" actId="20577"/>
          <ac:spMkLst>
            <pc:docMk/>
            <pc:sldMk cId="438790462" sldId="724"/>
            <ac:spMk id="6" creationId="{43AF2EA0-3112-AC1C-5020-E6AF8DFE1F14}"/>
          </ac:spMkLst>
        </pc:spChg>
        <pc:spChg chg="mod">
          <ac:chgData name="Albie Melia  (EU Projects &amp; Communication Specialist)" userId="2d1a2eb5-dfb4-4d11-8423-60408b1fc395" providerId="ADAL" clId="{A47526F3-5920-42D8-9700-FD6D77559717}" dt="2024-07-11T15:14:50.950" v="1253" actId="1035"/>
          <ac:spMkLst>
            <pc:docMk/>
            <pc:sldMk cId="438790462" sldId="724"/>
            <ac:spMk id="7" creationId="{DAD18C4D-738E-5E20-4A70-47667FCD743D}"/>
          </ac:spMkLst>
        </pc:spChg>
      </pc:sldChg>
      <pc:sldChg chg="del">
        <pc:chgData name="Albie Melia  (EU Projects &amp; Communication Specialist)" userId="2d1a2eb5-dfb4-4d11-8423-60408b1fc395" providerId="ADAL" clId="{A47526F3-5920-42D8-9700-FD6D77559717}" dt="2024-07-11T15:27:11.321" v="1270" actId="47"/>
        <pc:sldMkLst>
          <pc:docMk/>
          <pc:sldMk cId="3158734398" sldId="725"/>
        </pc:sldMkLst>
      </pc:sldChg>
      <pc:sldChg chg="modSp mod">
        <pc:chgData name="Albie Melia  (EU Projects &amp; Communication Specialist)" userId="2d1a2eb5-dfb4-4d11-8423-60408b1fc395" providerId="ADAL" clId="{A47526F3-5920-42D8-9700-FD6D77559717}" dt="2024-07-12T12:48:41.721" v="1690" actId="20577"/>
        <pc:sldMkLst>
          <pc:docMk/>
          <pc:sldMk cId="4183215279" sldId="728"/>
        </pc:sldMkLst>
        <pc:spChg chg="mod">
          <ac:chgData name="Albie Melia  (EU Projects &amp; Communication Specialist)" userId="2d1a2eb5-dfb4-4d11-8423-60408b1fc395" providerId="ADAL" clId="{A47526F3-5920-42D8-9700-FD6D77559717}" dt="2024-07-12T12:48:41.721" v="1690" actId="20577"/>
          <ac:spMkLst>
            <pc:docMk/>
            <pc:sldMk cId="4183215279" sldId="728"/>
            <ac:spMk id="3" creationId="{DA99C726-EEB8-A064-EA02-A4AF797D25D2}"/>
          </ac:spMkLst>
        </pc:spChg>
        <pc:spChg chg="mod">
          <ac:chgData name="Albie Melia  (EU Projects &amp; Communication Specialist)" userId="2d1a2eb5-dfb4-4d11-8423-60408b1fc395" providerId="ADAL" clId="{A47526F3-5920-42D8-9700-FD6D77559717}" dt="2024-07-12T12:48:36.833" v="1688"/>
          <ac:spMkLst>
            <pc:docMk/>
            <pc:sldMk cId="4183215279" sldId="728"/>
            <ac:spMk id="11" creationId="{09DE250D-399D-3046-A104-9E1DCF4E2437}"/>
          </ac:spMkLst>
        </pc:spChg>
      </pc:sldChg>
      <pc:sldChg chg="modSp mod">
        <pc:chgData name="Albie Melia  (EU Projects &amp; Communication Specialist)" userId="2d1a2eb5-dfb4-4d11-8423-60408b1fc395" providerId="ADAL" clId="{A47526F3-5920-42D8-9700-FD6D77559717}" dt="2024-07-12T12:49:31.210" v="1710" actId="14100"/>
        <pc:sldMkLst>
          <pc:docMk/>
          <pc:sldMk cId="3915926306" sldId="729"/>
        </pc:sldMkLst>
        <pc:spChg chg="mod">
          <ac:chgData name="Albie Melia  (EU Projects &amp; Communication Specialist)" userId="2d1a2eb5-dfb4-4d11-8423-60408b1fc395" providerId="ADAL" clId="{A47526F3-5920-42D8-9700-FD6D77559717}" dt="2024-07-12T12:49:31.210" v="1710" actId="14100"/>
          <ac:spMkLst>
            <pc:docMk/>
            <pc:sldMk cId="3915926306" sldId="729"/>
            <ac:spMk id="8" creationId="{71FCCA58-E6AE-D030-CB6C-0809439C7D2B}"/>
          </ac:spMkLst>
        </pc:spChg>
        <pc:spChg chg="mod">
          <ac:chgData name="Albie Melia  (EU Projects &amp; Communication Specialist)" userId="2d1a2eb5-dfb4-4d11-8423-60408b1fc395" providerId="ADAL" clId="{A47526F3-5920-42D8-9700-FD6D77559717}" dt="2024-07-12T11:47:42.898" v="1293" actId="1076"/>
          <ac:spMkLst>
            <pc:docMk/>
            <pc:sldMk cId="3915926306" sldId="729"/>
            <ac:spMk id="67" creationId="{76EC7856-B0EC-004E-A2BE-9CF77555B8D1}"/>
          </ac:spMkLst>
        </pc:spChg>
      </pc:sldChg>
      <pc:sldChg chg="delSp modSp mod">
        <pc:chgData name="Albie Melia  (EU Projects &amp; Communication Specialist)" userId="2d1a2eb5-dfb4-4d11-8423-60408b1fc395" providerId="ADAL" clId="{A47526F3-5920-42D8-9700-FD6D77559717}" dt="2024-07-12T11:52:00.183" v="1319" actId="14100"/>
        <pc:sldMkLst>
          <pc:docMk/>
          <pc:sldMk cId="806456445" sldId="731"/>
        </pc:sldMkLst>
        <pc:spChg chg="mod">
          <ac:chgData name="Albie Melia  (EU Projects &amp; Communication Specialist)" userId="2d1a2eb5-dfb4-4d11-8423-60408b1fc395" providerId="ADAL" clId="{A47526F3-5920-42D8-9700-FD6D77559717}" dt="2024-07-12T11:50:59.475" v="1307" actId="1076"/>
          <ac:spMkLst>
            <pc:docMk/>
            <pc:sldMk cId="806456445" sldId="731"/>
            <ac:spMk id="8" creationId="{425817A8-4434-7A42-8FDC-D5DBA4F4E62B}"/>
          </ac:spMkLst>
        </pc:spChg>
        <pc:spChg chg="mod">
          <ac:chgData name="Albie Melia  (EU Projects &amp; Communication Specialist)" userId="2d1a2eb5-dfb4-4d11-8423-60408b1fc395" providerId="ADAL" clId="{A47526F3-5920-42D8-9700-FD6D77559717}" dt="2024-07-12T11:52:00.183" v="1319" actId="14100"/>
          <ac:spMkLst>
            <pc:docMk/>
            <pc:sldMk cId="806456445" sldId="731"/>
            <ac:spMk id="10" creationId="{F8251304-71BA-DB4B-935B-6BA8C2444400}"/>
          </ac:spMkLst>
        </pc:spChg>
        <pc:spChg chg="del mod">
          <ac:chgData name="Albie Melia  (EU Projects &amp; Communication Specialist)" userId="2d1a2eb5-dfb4-4d11-8423-60408b1fc395" providerId="ADAL" clId="{A47526F3-5920-42D8-9700-FD6D77559717}" dt="2024-07-12T11:51:11.514" v="1313" actId="478"/>
          <ac:spMkLst>
            <pc:docMk/>
            <pc:sldMk cId="806456445" sldId="731"/>
            <ac:spMk id="12" creationId="{5A16ABDA-3F84-2E4A-ACE6-166D1B9B231F}"/>
          </ac:spMkLst>
        </pc:spChg>
      </pc:sldChg>
      <pc:sldChg chg="del">
        <pc:chgData name="Albie Melia  (EU Projects &amp; Communication Specialist)" userId="2d1a2eb5-dfb4-4d11-8423-60408b1fc395" providerId="ADAL" clId="{A47526F3-5920-42D8-9700-FD6D77559717}" dt="2024-07-12T11:54:26.963" v="1347" actId="47"/>
        <pc:sldMkLst>
          <pc:docMk/>
          <pc:sldMk cId="47831753" sldId="732"/>
        </pc:sldMkLst>
      </pc:sldChg>
      <pc:sldChg chg="modSp new mod">
        <pc:chgData name="Albie Melia  (EU Projects &amp; Communication Specialist)" userId="2d1a2eb5-dfb4-4d11-8423-60408b1fc395" providerId="ADAL" clId="{A47526F3-5920-42D8-9700-FD6D77559717}" dt="2024-07-09T11:47:13.507" v="143" actId="14100"/>
        <pc:sldMkLst>
          <pc:docMk/>
          <pc:sldMk cId="1939903919" sldId="733"/>
        </pc:sldMkLst>
        <pc:spChg chg="mod">
          <ac:chgData name="Albie Melia  (EU Projects &amp; Communication Specialist)" userId="2d1a2eb5-dfb4-4d11-8423-60408b1fc395" providerId="ADAL" clId="{A47526F3-5920-42D8-9700-FD6D77559717}" dt="2024-07-09T11:47:09.796" v="142" actId="20577"/>
          <ac:spMkLst>
            <pc:docMk/>
            <pc:sldMk cId="1939903919" sldId="733"/>
            <ac:spMk id="3" creationId="{C305AD23-7DCE-FC59-6C52-A1F8D5ECF35E}"/>
          </ac:spMkLst>
        </pc:spChg>
        <pc:spChg chg="mod">
          <ac:chgData name="Albie Melia  (EU Projects &amp; Communication Specialist)" userId="2d1a2eb5-dfb4-4d11-8423-60408b1fc395" providerId="ADAL" clId="{A47526F3-5920-42D8-9700-FD6D77559717}" dt="2024-07-09T11:47:13.507" v="143" actId="14100"/>
          <ac:spMkLst>
            <pc:docMk/>
            <pc:sldMk cId="1939903919" sldId="733"/>
            <ac:spMk id="4" creationId="{E431DD08-D002-0275-9826-6683E8CB0A7E}"/>
          </ac:spMkLst>
        </pc:spChg>
      </pc:sldChg>
      <pc:sldChg chg="modSp new mod">
        <pc:chgData name="Albie Melia  (EU Projects &amp; Communication Specialist)" userId="2d1a2eb5-dfb4-4d11-8423-60408b1fc395" providerId="ADAL" clId="{A47526F3-5920-42D8-9700-FD6D77559717}" dt="2024-07-09T11:43:21.108" v="127" actId="20577"/>
        <pc:sldMkLst>
          <pc:docMk/>
          <pc:sldMk cId="2452938620" sldId="734"/>
        </pc:sldMkLst>
        <pc:spChg chg="mod">
          <ac:chgData name="Albie Melia  (EU Projects &amp; Communication Specialist)" userId="2d1a2eb5-dfb4-4d11-8423-60408b1fc395" providerId="ADAL" clId="{A47526F3-5920-42D8-9700-FD6D77559717}" dt="2024-07-09T11:39:47.421" v="117" actId="20577"/>
          <ac:spMkLst>
            <pc:docMk/>
            <pc:sldMk cId="2452938620" sldId="734"/>
            <ac:spMk id="2" creationId="{4CF5C235-E5FE-1E4C-5D61-33E00AEBABD5}"/>
          </ac:spMkLst>
        </pc:spChg>
        <pc:spChg chg="mod">
          <ac:chgData name="Albie Melia  (EU Projects &amp; Communication Specialist)" userId="2d1a2eb5-dfb4-4d11-8423-60408b1fc395" providerId="ADAL" clId="{A47526F3-5920-42D8-9700-FD6D77559717}" dt="2024-07-09T11:39:50.873" v="119" actId="404"/>
          <ac:spMkLst>
            <pc:docMk/>
            <pc:sldMk cId="2452938620" sldId="734"/>
            <ac:spMk id="3" creationId="{8FEBB843-3485-0F68-BD01-E09BAEA252FA}"/>
          </ac:spMkLst>
        </pc:spChg>
        <pc:spChg chg="mod">
          <ac:chgData name="Albie Melia  (EU Projects &amp; Communication Specialist)" userId="2d1a2eb5-dfb4-4d11-8423-60408b1fc395" providerId="ADAL" clId="{A47526F3-5920-42D8-9700-FD6D77559717}" dt="2024-07-09T11:43:21.108" v="127" actId="20577"/>
          <ac:spMkLst>
            <pc:docMk/>
            <pc:sldMk cId="2452938620" sldId="734"/>
            <ac:spMk id="4" creationId="{B242744D-9A37-6648-2D79-AAD3947652AE}"/>
          </ac:spMkLst>
        </pc:spChg>
        <pc:spChg chg="mod">
          <ac:chgData name="Albie Melia  (EU Projects &amp; Communication Specialist)" userId="2d1a2eb5-dfb4-4d11-8423-60408b1fc395" providerId="ADAL" clId="{A47526F3-5920-42D8-9700-FD6D77559717}" dt="2024-07-09T11:40:08.096" v="125" actId="123"/>
          <ac:spMkLst>
            <pc:docMk/>
            <pc:sldMk cId="2452938620" sldId="734"/>
            <ac:spMk id="5" creationId="{A3A047E1-FC0A-8317-C35A-8D54D371071A}"/>
          </ac:spMkLst>
        </pc:spChg>
      </pc:sldChg>
      <pc:sldChg chg="modSp add mod">
        <pc:chgData name="Albie Melia  (EU Projects &amp; Communication Specialist)" userId="2d1a2eb5-dfb4-4d11-8423-60408b1fc395" providerId="ADAL" clId="{A47526F3-5920-42D8-9700-FD6D77559717}" dt="2024-07-09T11:44:07.528" v="141" actId="20577"/>
        <pc:sldMkLst>
          <pc:docMk/>
          <pc:sldMk cId="1018522379" sldId="735"/>
        </pc:sldMkLst>
        <pc:spChg chg="mod">
          <ac:chgData name="Albie Melia  (EU Projects &amp; Communication Specialist)" userId="2d1a2eb5-dfb4-4d11-8423-60408b1fc395" providerId="ADAL" clId="{A47526F3-5920-42D8-9700-FD6D77559717}" dt="2024-07-09T11:43:43.187" v="134" actId="20577"/>
          <ac:spMkLst>
            <pc:docMk/>
            <pc:sldMk cId="1018522379" sldId="735"/>
            <ac:spMk id="2" creationId="{4CF5C235-E5FE-1E4C-5D61-33E00AEBABD5}"/>
          </ac:spMkLst>
        </pc:spChg>
        <pc:spChg chg="mod">
          <ac:chgData name="Albie Melia  (EU Projects &amp; Communication Specialist)" userId="2d1a2eb5-dfb4-4d11-8423-60408b1fc395" providerId="ADAL" clId="{A47526F3-5920-42D8-9700-FD6D77559717}" dt="2024-07-09T11:43:37.388" v="130" actId="21"/>
          <ac:spMkLst>
            <pc:docMk/>
            <pc:sldMk cId="1018522379" sldId="735"/>
            <ac:spMk id="3" creationId="{8FEBB843-3485-0F68-BD01-E09BAEA252FA}"/>
          </ac:spMkLst>
        </pc:spChg>
        <pc:spChg chg="mod">
          <ac:chgData name="Albie Melia  (EU Projects &amp; Communication Specialist)" userId="2d1a2eb5-dfb4-4d11-8423-60408b1fc395" providerId="ADAL" clId="{A47526F3-5920-42D8-9700-FD6D77559717}" dt="2024-07-09T11:43:56.841" v="138" actId="20577"/>
          <ac:spMkLst>
            <pc:docMk/>
            <pc:sldMk cId="1018522379" sldId="735"/>
            <ac:spMk id="4" creationId="{B242744D-9A37-6648-2D79-AAD3947652AE}"/>
          </ac:spMkLst>
        </pc:spChg>
        <pc:spChg chg="mod">
          <ac:chgData name="Albie Melia  (EU Projects &amp; Communication Specialist)" userId="2d1a2eb5-dfb4-4d11-8423-60408b1fc395" providerId="ADAL" clId="{A47526F3-5920-42D8-9700-FD6D77559717}" dt="2024-07-09T11:44:07.528" v="141" actId="20577"/>
          <ac:spMkLst>
            <pc:docMk/>
            <pc:sldMk cId="1018522379" sldId="735"/>
            <ac:spMk id="5" creationId="{A3A047E1-FC0A-8317-C35A-8D54D371071A}"/>
          </ac:spMkLst>
        </pc:spChg>
      </pc:sldChg>
      <pc:sldChg chg="modSp add mod ord">
        <pc:chgData name="Albie Melia  (EU Projects &amp; Communication Specialist)" userId="2d1a2eb5-dfb4-4d11-8423-60408b1fc395" providerId="ADAL" clId="{A47526F3-5920-42D8-9700-FD6D77559717}" dt="2024-07-11T11:23:00.034" v="313" actId="14100"/>
        <pc:sldMkLst>
          <pc:docMk/>
          <pc:sldMk cId="2822344429" sldId="736"/>
        </pc:sldMkLst>
        <pc:spChg chg="mod">
          <ac:chgData name="Albie Melia  (EU Projects &amp; Communication Specialist)" userId="2d1a2eb5-dfb4-4d11-8423-60408b1fc395" providerId="ADAL" clId="{A47526F3-5920-42D8-9700-FD6D77559717}" dt="2024-07-11T10:56:15.140" v="255" actId="1076"/>
          <ac:spMkLst>
            <pc:docMk/>
            <pc:sldMk cId="2822344429" sldId="736"/>
            <ac:spMk id="8" creationId="{71FCCA58-E6AE-D030-CB6C-0809439C7D2B}"/>
          </ac:spMkLst>
        </pc:spChg>
        <pc:spChg chg="mod">
          <ac:chgData name="Albie Melia  (EU Projects &amp; Communication Specialist)" userId="2d1a2eb5-dfb4-4d11-8423-60408b1fc395" providerId="ADAL" clId="{A47526F3-5920-42D8-9700-FD6D77559717}" dt="2024-07-11T11:23:00.034" v="313" actId="14100"/>
          <ac:spMkLst>
            <pc:docMk/>
            <pc:sldMk cId="2822344429" sldId="736"/>
            <ac:spMk id="67" creationId="{76EC7856-B0EC-004E-A2BE-9CF77555B8D1}"/>
          </ac:spMkLst>
        </pc:spChg>
      </pc:sldChg>
      <pc:sldChg chg="modSp add del mod">
        <pc:chgData name="Albie Melia  (EU Projects &amp; Communication Specialist)" userId="2d1a2eb5-dfb4-4d11-8423-60408b1fc395" providerId="ADAL" clId="{A47526F3-5920-42D8-9700-FD6D77559717}" dt="2024-07-11T09:39:47.671" v="229" actId="47"/>
        <pc:sldMkLst>
          <pc:docMk/>
          <pc:sldMk cId="3933854400" sldId="736"/>
        </pc:sldMkLst>
        <pc:spChg chg="mod">
          <ac:chgData name="Albie Melia  (EU Projects &amp; Communication Specialist)" userId="2d1a2eb5-dfb4-4d11-8423-60408b1fc395" providerId="ADAL" clId="{A47526F3-5920-42D8-9700-FD6D77559717}" dt="2024-07-11T09:39:43.627" v="228" actId="20577"/>
          <ac:spMkLst>
            <pc:docMk/>
            <pc:sldMk cId="3933854400" sldId="736"/>
            <ac:spMk id="10" creationId="{F8251304-71BA-DB4B-935B-6BA8C2444400}"/>
          </ac:spMkLst>
        </pc:spChg>
      </pc:sldChg>
      <pc:sldChg chg="delSp modSp add mod">
        <pc:chgData name="Albie Melia  (EU Projects &amp; Communication Specialist)" userId="2d1a2eb5-dfb4-4d11-8423-60408b1fc395" providerId="ADAL" clId="{A47526F3-5920-42D8-9700-FD6D77559717}" dt="2024-07-11T12:49:28.937" v="778" actId="20577"/>
        <pc:sldMkLst>
          <pc:docMk/>
          <pc:sldMk cId="682241032" sldId="737"/>
        </pc:sldMkLst>
        <pc:spChg chg="mod">
          <ac:chgData name="Albie Melia  (EU Projects &amp; Communication Specialist)" userId="2d1a2eb5-dfb4-4d11-8423-60408b1fc395" providerId="ADAL" clId="{A47526F3-5920-42D8-9700-FD6D77559717}" dt="2024-07-11T12:49:28.937" v="778" actId="20577"/>
          <ac:spMkLst>
            <pc:docMk/>
            <pc:sldMk cId="682241032" sldId="737"/>
            <ac:spMk id="10" creationId="{F8251304-71BA-DB4B-935B-6BA8C2444400}"/>
          </ac:spMkLst>
        </pc:spChg>
        <pc:spChg chg="del">
          <ac:chgData name="Albie Melia  (EU Projects &amp; Communication Specialist)" userId="2d1a2eb5-dfb4-4d11-8423-60408b1fc395" providerId="ADAL" clId="{A47526F3-5920-42D8-9700-FD6D77559717}" dt="2024-07-11T12:48:53.065" v="759" actId="478"/>
          <ac:spMkLst>
            <pc:docMk/>
            <pc:sldMk cId="682241032" sldId="737"/>
            <ac:spMk id="12" creationId="{5A16ABDA-3F84-2E4A-ACE6-166D1B9B231F}"/>
          </ac:spMkLst>
        </pc:spChg>
      </pc:sldChg>
      <pc:sldChg chg="modSp add mod">
        <pc:chgData name="Albie Melia  (EU Projects &amp; Communication Specialist)" userId="2d1a2eb5-dfb4-4d11-8423-60408b1fc395" providerId="ADAL" clId="{A47526F3-5920-42D8-9700-FD6D77559717}" dt="2024-07-11T12:58:43.801" v="870" actId="20577"/>
        <pc:sldMkLst>
          <pc:docMk/>
          <pc:sldMk cId="17656777" sldId="738"/>
        </pc:sldMkLst>
        <pc:spChg chg="mod">
          <ac:chgData name="Albie Melia  (EU Projects &amp; Communication Specialist)" userId="2d1a2eb5-dfb4-4d11-8423-60408b1fc395" providerId="ADAL" clId="{A47526F3-5920-42D8-9700-FD6D77559717}" dt="2024-07-11T12:50:05.997" v="782"/>
          <ac:spMkLst>
            <pc:docMk/>
            <pc:sldMk cId="17656777" sldId="738"/>
            <ac:spMk id="8" creationId="{425817A8-4434-7A42-8FDC-D5DBA4F4E62B}"/>
          </ac:spMkLst>
        </pc:spChg>
        <pc:spChg chg="mod">
          <ac:chgData name="Albie Melia  (EU Projects &amp; Communication Specialist)" userId="2d1a2eb5-dfb4-4d11-8423-60408b1fc395" providerId="ADAL" clId="{A47526F3-5920-42D8-9700-FD6D77559717}" dt="2024-07-11T12:58:43.801" v="870" actId="20577"/>
          <ac:spMkLst>
            <pc:docMk/>
            <pc:sldMk cId="17656777" sldId="738"/>
            <ac:spMk id="10" creationId="{F8251304-71BA-DB4B-935B-6BA8C2444400}"/>
          </ac:spMkLst>
        </pc:spChg>
      </pc:sldChg>
      <pc:sldChg chg="modSp add mod">
        <pc:chgData name="Albie Melia  (EU Projects &amp; Communication Specialist)" userId="2d1a2eb5-dfb4-4d11-8423-60408b1fc395" providerId="ADAL" clId="{A47526F3-5920-42D8-9700-FD6D77559717}" dt="2024-07-11T12:52:30.449" v="832" actId="20577"/>
        <pc:sldMkLst>
          <pc:docMk/>
          <pc:sldMk cId="1694392127" sldId="739"/>
        </pc:sldMkLst>
        <pc:spChg chg="mod">
          <ac:chgData name="Albie Melia  (EU Projects &amp; Communication Specialist)" userId="2d1a2eb5-dfb4-4d11-8423-60408b1fc395" providerId="ADAL" clId="{A47526F3-5920-42D8-9700-FD6D77559717}" dt="2024-07-11T12:52:30.449" v="832" actId="20577"/>
          <ac:spMkLst>
            <pc:docMk/>
            <pc:sldMk cId="1694392127" sldId="739"/>
            <ac:spMk id="10" creationId="{F8251304-71BA-DB4B-935B-6BA8C2444400}"/>
          </ac:spMkLst>
        </pc:spChg>
      </pc:sldChg>
      <pc:sldChg chg="modSp new mod">
        <pc:chgData name="Albie Melia  (EU Projects &amp; Communication Specialist)" userId="2d1a2eb5-dfb4-4d11-8423-60408b1fc395" providerId="ADAL" clId="{A47526F3-5920-42D8-9700-FD6D77559717}" dt="2024-07-11T12:53:23.210" v="849" actId="20577"/>
        <pc:sldMkLst>
          <pc:docMk/>
          <pc:sldMk cId="2794289670" sldId="740"/>
        </pc:sldMkLst>
        <pc:spChg chg="mod">
          <ac:chgData name="Albie Melia  (EU Projects &amp; Communication Specialist)" userId="2d1a2eb5-dfb4-4d11-8423-60408b1fc395" providerId="ADAL" clId="{A47526F3-5920-42D8-9700-FD6D77559717}" dt="2024-07-11T12:53:08.307" v="837"/>
          <ac:spMkLst>
            <pc:docMk/>
            <pc:sldMk cId="2794289670" sldId="740"/>
            <ac:spMk id="2" creationId="{C46661D6-D865-4D65-1E20-E9FBED74117D}"/>
          </ac:spMkLst>
        </pc:spChg>
        <pc:spChg chg="mod">
          <ac:chgData name="Albie Melia  (EU Projects &amp; Communication Specialist)" userId="2d1a2eb5-dfb4-4d11-8423-60408b1fc395" providerId="ADAL" clId="{A47526F3-5920-42D8-9700-FD6D77559717}" dt="2024-07-11T12:53:23.210" v="849" actId="20577"/>
          <ac:spMkLst>
            <pc:docMk/>
            <pc:sldMk cId="2794289670" sldId="740"/>
            <ac:spMk id="3" creationId="{9BC972A0-3F85-1E08-2DEA-B3E5E5F42040}"/>
          </ac:spMkLst>
        </pc:spChg>
      </pc:sldChg>
      <pc:sldChg chg="modSp add mod">
        <pc:chgData name="Albie Melia  (EU Projects &amp; Communication Specialist)" userId="2d1a2eb5-dfb4-4d11-8423-60408b1fc395" providerId="ADAL" clId="{A47526F3-5920-42D8-9700-FD6D77559717}" dt="2024-07-11T12:58:55.775" v="878" actId="20577"/>
        <pc:sldMkLst>
          <pc:docMk/>
          <pc:sldMk cId="1430497521" sldId="741"/>
        </pc:sldMkLst>
        <pc:spChg chg="mod">
          <ac:chgData name="Albie Melia  (EU Projects &amp; Communication Specialist)" userId="2d1a2eb5-dfb4-4d11-8423-60408b1fc395" providerId="ADAL" clId="{A47526F3-5920-42D8-9700-FD6D77559717}" dt="2024-07-11T12:57:23.465" v="853"/>
          <ac:spMkLst>
            <pc:docMk/>
            <pc:sldMk cId="1430497521" sldId="741"/>
            <ac:spMk id="2" creationId="{C46661D6-D865-4D65-1E20-E9FBED74117D}"/>
          </ac:spMkLst>
        </pc:spChg>
        <pc:spChg chg="mod">
          <ac:chgData name="Albie Melia  (EU Projects &amp; Communication Specialist)" userId="2d1a2eb5-dfb4-4d11-8423-60408b1fc395" providerId="ADAL" clId="{A47526F3-5920-42D8-9700-FD6D77559717}" dt="2024-07-11T12:58:55.775" v="878" actId="20577"/>
          <ac:spMkLst>
            <pc:docMk/>
            <pc:sldMk cId="1430497521" sldId="741"/>
            <ac:spMk id="3" creationId="{9BC972A0-3F85-1E08-2DEA-B3E5E5F42040}"/>
          </ac:spMkLst>
        </pc:spChg>
      </pc:sldChg>
      <pc:sldChg chg="modSp new mod">
        <pc:chgData name="Albie Melia  (EU Projects &amp; Communication Specialist)" userId="2d1a2eb5-dfb4-4d11-8423-60408b1fc395" providerId="ADAL" clId="{A47526F3-5920-42D8-9700-FD6D77559717}" dt="2024-07-11T13:15:41.675" v="942" actId="255"/>
        <pc:sldMkLst>
          <pc:docMk/>
          <pc:sldMk cId="3572460286" sldId="742"/>
        </pc:sldMkLst>
        <pc:spChg chg="mod">
          <ac:chgData name="Albie Melia  (EU Projects &amp; Communication Specialist)" userId="2d1a2eb5-dfb4-4d11-8423-60408b1fc395" providerId="ADAL" clId="{A47526F3-5920-42D8-9700-FD6D77559717}" dt="2024-07-11T13:13:19.103" v="905" actId="1076"/>
          <ac:spMkLst>
            <pc:docMk/>
            <pc:sldMk cId="3572460286" sldId="742"/>
            <ac:spMk id="3" creationId="{95760684-FF56-EDAE-0420-54AB23B17363}"/>
          </ac:spMkLst>
        </pc:spChg>
        <pc:spChg chg="mod">
          <ac:chgData name="Albie Melia  (EU Projects &amp; Communication Specialist)" userId="2d1a2eb5-dfb4-4d11-8423-60408b1fc395" providerId="ADAL" clId="{A47526F3-5920-42D8-9700-FD6D77559717}" dt="2024-07-11T13:15:41.675" v="942" actId="255"/>
          <ac:spMkLst>
            <pc:docMk/>
            <pc:sldMk cId="3572460286" sldId="742"/>
            <ac:spMk id="4" creationId="{AEAD992D-6EEE-D07F-E479-21BB13B5CA85}"/>
          </ac:spMkLst>
        </pc:spChg>
      </pc:sldChg>
      <pc:sldChg chg="modSp add mod ord">
        <pc:chgData name="Albie Melia  (EU Projects &amp; Communication Specialist)" userId="2d1a2eb5-dfb4-4d11-8423-60408b1fc395" providerId="ADAL" clId="{A47526F3-5920-42D8-9700-FD6D77559717}" dt="2024-07-11T13:19:20.447" v="960" actId="113"/>
        <pc:sldMkLst>
          <pc:docMk/>
          <pc:sldMk cId="2062531847" sldId="743"/>
        </pc:sldMkLst>
        <pc:spChg chg="mod">
          <ac:chgData name="Albie Melia  (EU Projects &amp; Communication Specialist)" userId="2d1a2eb5-dfb4-4d11-8423-60408b1fc395" providerId="ADAL" clId="{A47526F3-5920-42D8-9700-FD6D77559717}" dt="2024-07-11T13:19:20.447" v="960" actId="113"/>
          <ac:spMkLst>
            <pc:docMk/>
            <pc:sldMk cId="2062531847" sldId="743"/>
            <ac:spMk id="3" creationId="{35AC186C-5DE3-6542-A610-70101C6B0F93}"/>
          </ac:spMkLst>
        </pc:spChg>
      </pc:sldChg>
      <pc:sldChg chg="modSp add mod ord">
        <pc:chgData name="Albie Melia  (EU Projects &amp; Communication Specialist)" userId="2d1a2eb5-dfb4-4d11-8423-60408b1fc395" providerId="ADAL" clId="{A47526F3-5920-42D8-9700-FD6D77559717}" dt="2024-07-11T13:22:53.252" v="999" actId="113"/>
        <pc:sldMkLst>
          <pc:docMk/>
          <pc:sldMk cId="567113046" sldId="744"/>
        </pc:sldMkLst>
        <pc:spChg chg="mod">
          <ac:chgData name="Albie Melia  (EU Projects &amp; Communication Specialist)" userId="2d1a2eb5-dfb4-4d11-8423-60408b1fc395" providerId="ADAL" clId="{A47526F3-5920-42D8-9700-FD6D77559717}" dt="2024-07-11T13:22:53.252" v="999" actId="113"/>
          <ac:spMkLst>
            <pc:docMk/>
            <pc:sldMk cId="567113046" sldId="744"/>
            <ac:spMk id="4" creationId="{03217DE6-3467-0A26-1950-9C5913DF9B0A}"/>
          </ac:spMkLst>
        </pc:spChg>
      </pc:sldChg>
      <pc:sldChg chg="modSp add mod">
        <pc:chgData name="Albie Melia  (EU Projects &amp; Communication Specialist)" userId="2d1a2eb5-dfb4-4d11-8423-60408b1fc395" providerId="ADAL" clId="{A47526F3-5920-42D8-9700-FD6D77559717}" dt="2024-07-11T14:19:06.042" v="1055" actId="20577"/>
        <pc:sldMkLst>
          <pc:docMk/>
          <pc:sldMk cId="208121220" sldId="745"/>
        </pc:sldMkLst>
        <pc:spChg chg="mod">
          <ac:chgData name="Albie Melia  (EU Projects &amp; Communication Specialist)" userId="2d1a2eb5-dfb4-4d11-8423-60408b1fc395" providerId="ADAL" clId="{A47526F3-5920-42D8-9700-FD6D77559717}" dt="2024-07-11T14:18:57.078" v="1049"/>
          <ac:spMkLst>
            <pc:docMk/>
            <pc:sldMk cId="208121220" sldId="745"/>
            <ac:spMk id="8" creationId="{425817A8-4434-7A42-8FDC-D5DBA4F4E62B}"/>
          </ac:spMkLst>
        </pc:spChg>
        <pc:spChg chg="mod">
          <ac:chgData name="Albie Melia  (EU Projects &amp; Communication Specialist)" userId="2d1a2eb5-dfb4-4d11-8423-60408b1fc395" providerId="ADAL" clId="{A47526F3-5920-42D8-9700-FD6D77559717}" dt="2024-07-11T14:19:06.042" v="1055" actId="20577"/>
          <ac:spMkLst>
            <pc:docMk/>
            <pc:sldMk cId="208121220" sldId="745"/>
            <ac:spMk id="10" creationId="{F8251304-71BA-DB4B-935B-6BA8C2444400}"/>
          </ac:spMkLst>
        </pc:spChg>
      </pc:sldChg>
      <pc:sldChg chg="modSp add mod">
        <pc:chgData name="Albie Melia  (EU Projects &amp; Communication Specialist)" userId="2d1a2eb5-dfb4-4d11-8423-60408b1fc395" providerId="ADAL" clId="{A47526F3-5920-42D8-9700-FD6D77559717}" dt="2024-07-11T14:19:39.344" v="1068" actId="1076"/>
        <pc:sldMkLst>
          <pc:docMk/>
          <pc:sldMk cId="266263289" sldId="746"/>
        </pc:sldMkLst>
        <pc:spChg chg="mod">
          <ac:chgData name="Albie Melia  (EU Projects &amp; Communication Specialist)" userId="2d1a2eb5-dfb4-4d11-8423-60408b1fc395" providerId="ADAL" clId="{A47526F3-5920-42D8-9700-FD6D77559717}" dt="2024-07-11T14:19:26.808" v="1061" actId="1076"/>
          <ac:spMkLst>
            <pc:docMk/>
            <pc:sldMk cId="266263289" sldId="746"/>
            <ac:spMk id="8" creationId="{425817A8-4434-7A42-8FDC-D5DBA4F4E62B}"/>
          </ac:spMkLst>
        </pc:spChg>
        <pc:spChg chg="mod">
          <ac:chgData name="Albie Melia  (EU Projects &amp; Communication Specialist)" userId="2d1a2eb5-dfb4-4d11-8423-60408b1fc395" providerId="ADAL" clId="{A47526F3-5920-42D8-9700-FD6D77559717}" dt="2024-07-11T14:19:39.344" v="1068" actId="1076"/>
          <ac:spMkLst>
            <pc:docMk/>
            <pc:sldMk cId="266263289" sldId="746"/>
            <ac:spMk id="10" creationId="{F8251304-71BA-DB4B-935B-6BA8C2444400}"/>
          </ac:spMkLst>
        </pc:spChg>
      </pc:sldChg>
      <pc:sldChg chg="modSp new mod">
        <pc:chgData name="Albie Melia  (EU Projects &amp; Communication Specialist)" userId="2d1a2eb5-dfb4-4d11-8423-60408b1fc395" providerId="ADAL" clId="{A47526F3-5920-42D8-9700-FD6D77559717}" dt="2024-07-11T14:29:19.830" v="1108" actId="1076"/>
        <pc:sldMkLst>
          <pc:docMk/>
          <pc:sldMk cId="3347188310" sldId="747"/>
        </pc:sldMkLst>
        <pc:spChg chg="mod">
          <ac:chgData name="Albie Melia  (EU Projects &amp; Communication Specialist)" userId="2d1a2eb5-dfb4-4d11-8423-60408b1fc395" providerId="ADAL" clId="{A47526F3-5920-42D8-9700-FD6D77559717}" dt="2024-07-11T14:29:19.830" v="1108" actId="1076"/>
          <ac:spMkLst>
            <pc:docMk/>
            <pc:sldMk cId="3347188310" sldId="747"/>
            <ac:spMk id="4" creationId="{79226FBF-4DC7-5FD5-C6BB-38B9834067DA}"/>
          </ac:spMkLst>
        </pc:spChg>
      </pc:sldChg>
      <pc:sldChg chg="modSp add mod ord">
        <pc:chgData name="Albie Melia  (EU Projects &amp; Communication Specialist)" userId="2d1a2eb5-dfb4-4d11-8423-60408b1fc395" providerId="ADAL" clId="{A47526F3-5920-42D8-9700-FD6D77559717}" dt="2024-07-11T14:32:30.363" v="1158" actId="20577"/>
        <pc:sldMkLst>
          <pc:docMk/>
          <pc:sldMk cId="911201234" sldId="748"/>
        </pc:sldMkLst>
        <pc:spChg chg="mod">
          <ac:chgData name="Albie Melia  (EU Projects &amp; Communication Specialist)" userId="2d1a2eb5-dfb4-4d11-8423-60408b1fc395" providerId="ADAL" clId="{A47526F3-5920-42D8-9700-FD6D77559717}" dt="2024-07-11T14:32:30.363" v="1158" actId="20577"/>
          <ac:spMkLst>
            <pc:docMk/>
            <pc:sldMk cId="911201234" sldId="748"/>
            <ac:spMk id="3" creationId="{35AC186C-5DE3-6542-A610-70101C6B0F93}"/>
          </ac:spMkLst>
        </pc:spChg>
      </pc:sldChg>
      <pc:sldChg chg="modSp add mod ord">
        <pc:chgData name="Albie Melia  (EU Projects &amp; Communication Specialist)" userId="2d1a2eb5-dfb4-4d11-8423-60408b1fc395" providerId="ADAL" clId="{A47526F3-5920-42D8-9700-FD6D77559717}" dt="2024-07-11T14:44:29.173" v="1207" actId="1076"/>
        <pc:sldMkLst>
          <pc:docMk/>
          <pc:sldMk cId="2238317432" sldId="749"/>
        </pc:sldMkLst>
        <pc:spChg chg="mod">
          <ac:chgData name="Albie Melia  (EU Projects &amp; Communication Specialist)" userId="2d1a2eb5-dfb4-4d11-8423-60408b1fc395" providerId="ADAL" clId="{A47526F3-5920-42D8-9700-FD6D77559717}" dt="2024-07-11T14:44:29.173" v="1207" actId="1076"/>
          <ac:spMkLst>
            <pc:docMk/>
            <pc:sldMk cId="2238317432" sldId="749"/>
            <ac:spMk id="3" creationId="{5ECD864F-12FC-444B-495D-A5E327843E5F}"/>
          </ac:spMkLst>
        </pc:spChg>
        <pc:spChg chg="mod">
          <ac:chgData name="Albie Melia  (EU Projects &amp; Communication Specialist)" userId="2d1a2eb5-dfb4-4d11-8423-60408b1fc395" providerId="ADAL" clId="{A47526F3-5920-42D8-9700-FD6D77559717}" dt="2024-07-11T14:44:27.054" v="1206" actId="14100"/>
          <ac:spMkLst>
            <pc:docMk/>
            <pc:sldMk cId="2238317432" sldId="749"/>
            <ac:spMk id="4" creationId="{03217DE6-3467-0A26-1950-9C5913DF9B0A}"/>
          </ac:spMkLst>
        </pc:spChg>
      </pc:sldChg>
      <pc:sldChg chg="modSp new mod">
        <pc:chgData name="Albie Melia  (EU Projects &amp; Communication Specialist)" userId="2d1a2eb5-dfb4-4d11-8423-60408b1fc395" providerId="ADAL" clId="{A47526F3-5920-42D8-9700-FD6D77559717}" dt="2024-07-11T15:13:19.280" v="1229"/>
        <pc:sldMkLst>
          <pc:docMk/>
          <pc:sldMk cId="3454950717" sldId="750"/>
        </pc:sldMkLst>
        <pc:spChg chg="mod">
          <ac:chgData name="Albie Melia  (EU Projects &amp; Communication Specialist)" userId="2d1a2eb5-dfb4-4d11-8423-60408b1fc395" providerId="ADAL" clId="{A47526F3-5920-42D8-9700-FD6D77559717}" dt="2024-07-11T15:13:19.280" v="1229"/>
          <ac:spMkLst>
            <pc:docMk/>
            <pc:sldMk cId="3454950717" sldId="750"/>
            <ac:spMk id="2" creationId="{A36E758A-1212-D9C6-6565-0EFC9B5C73EF}"/>
          </ac:spMkLst>
        </pc:spChg>
        <pc:spChg chg="mod">
          <ac:chgData name="Albie Melia  (EU Projects &amp; Communication Specialist)" userId="2d1a2eb5-dfb4-4d11-8423-60408b1fc395" providerId="ADAL" clId="{A47526F3-5920-42D8-9700-FD6D77559717}" dt="2024-07-11T15:13:02.877" v="1226" actId="20577"/>
          <ac:spMkLst>
            <pc:docMk/>
            <pc:sldMk cId="3454950717" sldId="750"/>
            <ac:spMk id="3" creationId="{1C5D7E4C-163D-EB4A-D448-91A0B31F01B0}"/>
          </ac:spMkLst>
        </pc:spChg>
      </pc:sldChg>
      <pc:sldChg chg="modSp add mod ord">
        <pc:chgData name="Albie Melia  (EU Projects &amp; Communication Specialist)" userId="2d1a2eb5-dfb4-4d11-8423-60408b1fc395" providerId="ADAL" clId="{A47526F3-5920-42D8-9700-FD6D77559717}" dt="2024-07-11T15:15:48.600" v="1269" actId="5793"/>
        <pc:sldMkLst>
          <pc:docMk/>
          <pc:sldMk cId="829394535" sldId="751"/>
        </pc:sldMkLst>
        <pc:spChg chg="mod">
          <ac:chgData name="Albie Melia  (EU Projects &amp; Communication Specialist)" userId="2d1a2eb5-dfb4-4d11-8423-60408b1fc395" providerId="ADAL" clId="{A47526F3-5920-42D8-9700-FD6D77559717}" dt="2024-07-11T15:15:48.600" v="1269" actId="5793"/>
          <ac:spMkLst>
            <pc:docMk/>
            <pc:sldMk cId="829394535" sldId="751"/>
            <ac:spMk id="3" creationId="{1C5D7E4C-163D-EB4A-D448-91A0B31F01B0}"/>
          </ac:spMkLst>
        </pc:spChg>
      </pc:sldChg>
      <pc:sldChg chg="modSp add mod ord">
        <pc:chgData name="Albie Melia  (EU Projects &amp; Communication Specialist)" userId="2d1a2eb5-dfb4-4d11-8423-60408b1fc395" providerId="ADAL" clId="{A47526F3-5920-42D8-9700-FD6D77559717}" dt="2024-07-11T15:28:29.795" v="1284" actId="20577"/>
        <pc:sldMkLst>
          <pc:docMk/>
          <pc:sldMk cId="1871487348" sldId="752"/>
        </pc:sldMkLst>
        <pc:spChg chg="mod">
          <ac:chgData name="Albie Melia  (EU Projects &amp; Communication Specialist)" userId="2d1a2eb5-dfb4-4d11-8423-60408b1fc395" providerId="ADAL" clId="{A47526F3-5920-42D8-9700-FD6D77559717}" dt="2024-07-11T15:28:29.795" v="1284" actId="20577"/>
          <ac:spMkLst>
            <pc:docMk/>
            <pc:sldMk cId="1871487348" sldId="752"/>
            <ac:spMk id="3" creationId="{35AC186C-5DE3-6542-A610-70101C6B0F93}"/>
          </ac:spMkLst>
        </pc:spChg>
      </pc:sldChg>
      <pc:sldChg chg="modSp add mod ord">
        <pc:chgData name="Albie Melia  (EU Projects &amp; Communication Specialist)" userId="2d1a2eb5-dfb4-4d11-8423-60408b1fc395" providerId="ADAL" clId="{A47526F3-5920-42D8-9700-FD6D77559717}" dt="2024-07-12T11:50:14.619" v="1301" actId="20577"/>
        <pc:sldMkLst>
          <pc:docMk/>
          <pc:sldMk cId="827856311" sldId="753"/>
        </pc:sldMkLst>
        <pc:spChg chg="mod">
          <ac:chgData name="Albie Melia  (EU Projects &amp; Communication Specialist)" userId="2d1a2eb5-dfb4-4d11-8423-60408b1fc395" providerId="ADAL" clId="{A47526F3-5920-42D8-9700-FD6D77559717}" dt="2024-07-12T11:50:14.619" v="1301" actId="20577"/>
          <ac:spMkLst>
            <pc:docMk/>
            <pc:sldMk cId="827856311" sldId="753"/>
            <ac:spMk id="3" creationId="{35AC186C-5DE3-6542-A610-70101C6B0F93}"/>
          </ac:spMkLst>
        </pc:spChg>
      </pc:sldChg>
      <pc:sldChg chg="modSp add mod">
        <pc:chgData name="Albie Melia  (EU Projects &amp; Communication Specialist)" userId="2d1a2eb5-dfb4-4d11-8423-60408b1fc395" providerId="ADAL" clId="{A47526F3-5920-42D8-9700-FD6D77559717}" dt="2024-07-12T11:58:07.290" v="1378" actId="20577"/>
        <pc:sldMkLst>
          <pc:docMk/>
          <pc:sldMk cId="2515491611" sldId="754"/>
        </pc:sldMkLst>
        <pc:spChg chg="mod">
          <ac:chgData name="Albie Melia  (EU Projects &amp; Communication Specialist)" userId="2d1a2eb5-dfb4-4d11-8423-60408b1fc395" providerId="ADAL" clId="{A47526F3-5920-42D8-9700-FD6D77559717}" dt="2024-07-12T11:52:19.896" v="1324" actId="20577"/>
          <ac:spMkLst>
            <pc:docMk/>
            <pc:sldMk cId="2515491611" sldId="754"/>
            <ac:spMk id="8" creationId="{425817A8-4434-7A42-8FDC-D5DBA4F4E62B}"/>
          </ac:spMkLst>
        </pc:spChg>
        <pc:spChg chg="mod">
          <ac:chgData name="Albie Melia  (EU Projects &amp; Communication Specialist)" userId="2d1a2eb5-dfb4-4d11-8423-60408b1fc395" providerId="ADAL" clId="{A47526F3-5920-42D8-9700-FD6D77559717}" dt="2024-07-12T11:58:07.290" v="1378" actId="20577"/>
          <ac:spMkLst>
            <pc:docMk/>
            <pc:sldMk cId="2515491611" sldId="754"/>
            <ac:spMk id="10" creationId="{F8251304-71BA-DB4B-935B-6BA8C2444400}"/>
          </ac:spMkLst>
        </pc:spChg>
      </pc:sldChg>
      <pc:sldChg chg="modSp add mod">
        <pc:chgData name="Albie Melia  (EU Projects &amp; Communication Specialist)" userId="2d1a2eb5-dfb4-4d11-8423-60408b1fc395" providerId="ADAL" clId="{A47526F3-5920-42D8-9700-FD6D77559717}" dt="2024-07-12T11:58:40.064" v="1384" actId="14100"/>
        <pc:sldMkLst>
          <pc:docMk/>
          <pc:sldMk cId="682530026" sldId="755"/>
        </pc:sldMkLst>
        <pc:spChg chg="mod">
          <ac:chgData name="Albie Melia  (EU Projects &amp; Communication Specialist)" userId="2d1a2eb5-dfb4-4d11-8423-60408b1fc395" providerId="ADAL" clId="{A47526F3-5920-42D8-9700-FD6D77559717}" dt="2024-07-12T11:58:37.108" v="1383" actId="14100"/>
          <ac:spMkLst>
            <pc:docMk/>
            <pc:sldMk cId="682530026" sldId="755"/>
            <ac:spMk id="8" creationId="{425817A8-4434-7A42-8FDC-D5DBA4F4E62B}"/>
          </ac:spMkLst>
        </pc:spChg>
        <pc:spChg chg="mod">
          <ac:chgData name="Albie Melia  (EU Projects &amp; Communication Specialist)" userId="2d1a2eb5-dfb4-4d11-8423-60408b1fc395" providerId="ADAL" clId="{A47526F3-5920-42D8-9700-FD6D77559717}" dt="2024-07-12T11:58:40.064" v="1384" actId="14100"/>
          <ac:spMkLst>
            <pc:docMk/>
            <pc:sldMk cId="682530026" sldId="755"/>
            <ac:spMk id="10" creationId="{F8251304-71BA-DB4B-935B-6BA8C2444400}"/>
          </ac:spMkLst>
        </pc:spChg>
      </pc:sldChg>
      <pc:sldChg chg="modSp add mod">
        <pc:chgData name="Albie Melia  (EU Projects &amp; Communication Specialist)" userId="2d1a2eb5-dfb4-4d11-8423-60408b1fc395" providerId="ADAL" clId="{A47526F3-5920-42D8-9700-FD6D77559717}" dt="2024-07-12T11:59:27.928" v="1389" actId="1076"/>
        <pc:sldMkLst>
          <pc:docMk/>
          <pc:sldMk cId="4165243160" sldId="756"/>
        </pc:sldMkLst>
        <pc:spChg chg="mod">
          <ac:chgData name="Albie Melia  (EU Projects &amp; Communication Specialist)" userId="2d1a2eb5-dfb4-4d11-8423-60408b1fc395" providerId="ADAL" clId="{A47526F3-5920-42D8-9700-FD6D77559717}" dt="2024-07-12T11:59:27.928" v="1389" actId="1076"/>
          <ac:spMkLst>
            <pc:docMk/>
            <pc:sldMk cId="4165243160" sldId="756"/>
            <ac:spMk id="8" creationId="{425817A8-4434-7A42-8FDC-D5DBA4F4E62B}"/>
          </ac:spMkLst>
        </pc:spChg>
        <pc:spChg chg="mod">
          <ac:chgData name="Albie Melia  (EU Projects &amp; Communication Specialist)" userId="2d1a2eb5-dfb4-4d11-8423-60408b1fc395" providerId="ADAL" clId="{A47526F3-5920-42D8-9700-FD6D77559717}" dt="2024-07-12T11:59:24.987" v="1388" actId="14100"/>
          <ac:spMkLst>
            <pc:docMk/>
            <pc:sldMk cId="4165243160" sldId="756"/>
            <ac:spMk id="10" creationId="{F8251304-71BA-DB4B-935B-6BA8C2444400}"/>
          </ac:spMkLst>
        </pc:spChg>
      </pc:sldChg>
      <pc:sldChg chg="modSp new mod">
        <pc:chgData name="Albie Melia  (EU Projects &amp; Communication Specialist)" userId="2d1a2eb5-dfb4-4d11-8423-60408b1fc395" providerId="ADAL" clId="{A47526F3-5920-42D8-9700-FD6D77559717}" dt="2024-07-12T11:55:18.217" v="1364" actId="1076"/>
        <pc:sldMkLst>
          <pc:docMk/>
          <pc:sldMk cId="4282461591" sldId="757"/>
        </pc:sldMkLst>
        <pc:spChg chg="mod">
          <ac:chgData name="Albie Melia  (EU Projects &amp; Communication Specialist)" userId="2d1a2eb5-dfb4-4d11-8423-60408b1fc395" providerId="ADAL" clId="{A47526F3-5920-42D8-9700-FD6D77559717}" dt="2024-07-12T11:54:38.328" v="1352"/>
          <ac:spMkLst>
            <pc:docMk/>
            <pc:sldMk cId="4282461591" sldId="757"/>
            <ac:spMk id="2" creationId="{A9634A5C-C621-3003-AF66-F2C07707A343}"/>
          </ac:spMkLst>
        </pc:spChg>
        <pc:spChg chg="mod">
          <ac:chgData name="Albie Melia  (EU Projects &amp; Communication Specialist)" userId="2d1a2eb5-dfb4-4d11-8423-60408b1fc395" providerId="ADAL" clId="{A47526F3-5920-42D8-9700-FD6D77559717}" dt="2024-07-12T11:55:18.217" v="1364" actId="1076"/>
          <ac:spMkLst>
            <pc:docMk/>
            <pc:sldMk cId="4282461591" sldId="757"/>
            <ac:spMk id="3" creationId="{52789E04-0E4D-0CFD-CC2A-236185581DBC}"/>
          </ac:spMkLst>
        </pc:spChg>
      </pc:sldChg>
      <pc:sldChg chg="modSp new mod">
        <pc:chgData name="Albie Melia  (EU Projects &amp; Communication Specialist)" userId="2d1a2eb5-dfb4-4d11-8423-60408b1fc395" providerId="ADAL" clId="{A47526F3-5920-42D8-9700-FD6D77559717}" dt="2024-07-12T12:18:46.993" v="1401" actId="14100"/>
        <pc:sldMkLst>
          <pc:docMk/>
          <pc:sldMk cId="1056430316" sldId="758"/>
        </pc:sldMkLst>
        <pc:spChg chg="mod">
          <ac:chgData name="Albie Melia  (EU Projects &amp; Communication Specialist)" userId="2d1a2eb5-dfb4-4d11-8423-60408b1fc395" providerId="ADAL" clId="{A47526F3-5920-42D8-9700-FD6D77559717}" dt="2024-07-12T12:18:46.993" v="1401" actId="14100"/>
          <ac:spMkLst>
            <pc:docMk/>
            <pc:sldMk cId="1056430316" sldId="758"/>
            <ac:spMk id="3" creationId="{E7D5C0FC-2E00-73EB-3380-754B20262174}"/>
          </ac:spMkLst>
        </pc:spChg>
        <pc:spChg chg="mod">
          <ac:chgData name="Albie Melia  (EU Projects &amp; Communication Specialist)" userId="2d1a2eb5-dfb4-4d11-8423-60408b1fc395" providerId="ADAL" clId="{A47526F3-5920-42D8-9700-FD6D77559717}" dt="2024-07-12T12:18:02.745" v="1397" actId="123"/>
          <ac:spMkLst>
            <pc:docMk/>
            <pc:sldMk cId="1056430316" sldId="758"/>
            <ac:spMk id="4" creationId="{010C976A-FD12-1BE1-5D10-14F3A194EF5F}"/>
          </ac:spMkLst>
        </pc:spChg>
      </pc:sldChg>
      <pc:sldChg chg="addSp modSp new mod">
        <pc:chgData name="Albie Melia  (EU Projects &amp; Communication Specialist)" userId="2d1a2eb5-dfb4-4d11-8423-60408b1fc395" providerId="ADAL" clId="{A47526F3-5920-42D8-9700-FD6D77559717}" dt="2024-07-12T12:29:40.804" v="1494" actId="14100"/>
        <pc:sldMkLst>
          <pc:docMk/>
          <pc:sldMk cId="3266456934" sldId="759"/>
        </pc:sldMkLst>
        <pc:spChg chg="mod">
          <ac:chgData name="Albie Melia  (EU Projects &amp; Communication Specialist)" userId="2d1a2eb5-dfb4-4d11-8423-60408b1fc395" providerId="ADAL" clId="{A47526F3-5920-42D8-9700-FD6D77559717}" dt="2024-07-12T12:19:24.119" v="1408" actId="20577"/>
          <ac:spMkLst>
            <pc:docMk/>
            <pc:sldMk cId="3266456934" sldId="759"/>
            <ac:spMk id="2" creationId="{D677B8A5-EA9A-1D2D-E3C0-080DA4FA37E4}"/>
          </ac:spMkLst>
        </pc:spChg>
        <pc:spChg chg="mod">
          <ac:chgData name="Albie Melia  (EU Projects &amp; Communication Specialist)" userId="2d1a2eb5-dfb4-4d11-8423-60408b1fc395" providerId="ADAL" clId="{A47526F3-5920-42D8-9700-FD6D77559717}" dt="2024-07-12T12:25:36.637" v="1418" actId="20577"/>
          <ac:spMkLst>
            <pc:docMk/>
            <pc:sldMk cId="3266456934" sldId="759"/>
            <ac:spMk id="3" creationId="{BE8ACA23-C6E0-4B4C-E6CF-74E456D1A083}"/>
          </ac:spMkLst>
        </pc:spChg>
        <pc:spChg chg="mod">
          <ac:chgData name="Albie Melia  (EU Projects &amp; Communication Specialist)" userId="2d1a2eb5-dfb4-4d11-8423-60408b1fc395" providerId="ADAL" clId="{A47526F3-5920-42D8-9700-FD6D77559717}" dt="2024-07-12T12:26:03.639" v="1422" actId="20577"/>
          <ac:spMkLst>
            <pc:docMk/>
            <pc:sldMk cId="3266456934" sldId="759"/>
            <ac:spMk id="4" creationId="{6076C73D-ACDB-C8D4-7CE9-28BA00AFAA3F}"/>
          </ac:spMkLst>
        </pc:spChg>
        <pc:spChg chg="mod">
          <ac:chgData name="Albie Melia  (EU Projects &amp; Communication Specialist)" userId="2d1a2eb5-dfb4-4d11-8423-60408b1fc395" providerId="ADAL" clId="{A47526F3-5920-42D8-9700-FD6D77559717}" dt="2024-07-12T12:26:07.492" v="1424" actId="404"/>
          <ac:spMkLst>
            <pc:docMk/>
            <pc:sldMk cId="3266456934" sldId="759"/>
            <ac:spMk id="5" creationId="{F1FE476A-DA9C-0C69-06EA-882BB28C14E6}"/>
          </ac:spMkLst>
        </pc:spChg>
        <pc:spChg chg="add mod">
          <ac:chgData name="Albie Melia  (EU Projects &amp; Communication Specialist)" userId="2d1a2eb5-dfb4-4d11-8423-60408b1fc395" providerId="ADAL" clId="{A47526F3-5920-42D8-9700-FD6D77559717}" dt="2024-07-12T12:29:40.804" v="1494" actId="14100"/>
          <ac:spMkLst>
            <pc:docMk/>
            <pc:sldMk cId="3266456934" sldId="759"/>
            <ac:spMk id="8" creationId="{F1457A2F-6CF0-0E5E-5303-E6F04699B4DF}"/>
          </ac:spMkLst>
        </pc:spChg>
      </pc:sldChg>
      <pc:sldChg chg="modSp add mod">
        <pc:chgData name="Albie Melia  (EU Projects &amp; Communication Specialist)" userId="2d1a2eb5-dfb4-4d11-8423-60408b1fc395" providerId="ADAL" clId="{A47526F3-5920-42D8-9700-FD6D77559717}" dt="2024-07-12T12:30:05.523" v="1502" actId="20577"/>
        <pc:sldMkLst>
          <pc:docMk/>
          <pc:sldMk cId="106159530" sldId="760"/>
        </pc:sldMkLst>
        <pc:spChg chg="mod">
          <ac:chgData name="Albie Melia  (EU Projects &amp; Communication Specialist)" userId="2d1a2eb5-dfb4-4d11-8423-60408b1fc395" providerId="ADAL" clId="{A47526F3-5920-42D8-9700-FD6D77559717}" dt="2024-07-12T12:28:55.768" v="1466" actId="20577"/>
          <ac:spMkLst>
            <pc:docMk/>
            <pc:sldMk cId="106159530" sldId="760"/>
            <ac:spMk id="2" creationId="{D677B8A5-EA9A-1D2D-E3C0-080DA4FA37E4}"/>
          </ac:spMkLst>
        </pc:spChg>
        <pc:spChg chg="mod">
          <ac:chgData name="Albie Melia  (EU Projects &amp; Communication Specialist)" userId="2d1a2eb5-dfb4-4d11-8423-60408b1fc395" providerId="ADAL" clId="{A47526F3-5920-42D8-9700-FD6D77559717}" dt="2024-07-12T12:28:59.507" v="1467" actId="20577"/>
          <ac:spMkLst>
            <pc:docMk/>
            <pc:sldMk cId="106159530" sldId="760"/>
            <ac:spMk id="3" creationId="{BE8ACA23-C6E0-4B4C-E6CF-74E456D1A083}"/>
          </ac:spMkLst>
        </pc:spChg>
        <pc:spChg chg="mod">
          <ac:chgData name="Albie Melia  (EU Projects &amp; Communication Specialist)" userId="2d1a2eb5-dfb4-4d11-8423-60408b1fc395" providerId="ADAL" clId="{A47526F3-5920-42D8-9700-FD6D77559717}" dt="2024-07-12T12:29:52.764" v="1498" actId="20577"/>
          <ac:spMkLst>
            <pc:docMk/>
            <pc:sldMk cId="106159530" sldId="760"/>
            <ac:spMk id="4" creationId="{6076C73D-ACDB-C8D4-7CE9-28BA00AFAA3F}"/>
          </ac:spMkLst>
        </pc:spChg>
        <pc:spChg chg="mod">
          <ac:chgData name="Albie Melia  (EU Projects &amp; Communication Specialist)" userId="2d1a2eb5-dfb4-4d11-8423-60408b1fc395" providerId="ADAL" clId="{A47526F3-5920-42D8-9700-FD6D77559717}" dt="2024-07-12T12:30:05.523" v="1502" actId="20577"/>
          <ac:spMkLst>
            <pc:docMk/>
            <pc:sldMk cId="106159530" sldId="760"/>
            <ac:spMk id="5" creationId="{F1FE476A-DA9C-0C69-06EA-882BB28C14E6}"/>
          </ac:spMkLst>
        </pc:spChg>
        <pc:spChg chg="mod">
          <ac:chgData name="Albie Melia  (EU Projects &amp; Communication Specialist)" userId="2d1a2eb5-dfb4-4d11-8423-60408b1fc395" providerId="ADAL" clId="{A47526F3-5920-42D8-9700-FD6D77559717}" dt="2024-07-12T12:29:24.535" v="1491" actId="14100"/>
          <ac:spMkLst>
            <pc:docMk/>
            <pc:sldMk cId="106159530" sldId="760"/>
            <ac:spMk id="8" creationId="{F1457A2F-6CF0-0E5E-5303-E6F04699B4DF}"/>
          </ac:spMkLst>
        </pc:spChg>
      </pc:sldChg>
      <pc:sldChg chg="add del">
        <pc:chgData name="Albie Melia  (EU Projects &amp; Communication Specialist)" userId="2d1a2eb5-dfb4-4d11-8423-60408b1fc395" providerId="ADAL" clId="{A47526F3-5920-42D8-9700-FD6D77559717}" dt="2024-07-12T12:28:19.812" v="1459" actId="47"/>
        <pc:sldMkLst>
          <pc:docMk/>
          <pc:sldMk cId="650213366" sldId="760"/>
        </pc:sldMkLst>
      </pc:sldChg>
      <pc:sldChg chg="modSp add mod">
        <pc:chgData name="Albie Melia  (EU Projects &amp; Communication Specialist)" userId="2d1a2eb5-dfb4-4d11-8423-60408b1fc395" providerId="ADAL" clId="{A47526F3-5920-42D8-9700-FD6D77559717}" dt="2024-07-12T12:30:59.696" v="1533" actId="20577"/>
        <pc:sldMkLst>
          <pc:docMk/>
          <pc:sldMk cId="92644425" sldId="761"/>
        </pc:sldMkLst>
        <pc:spChg chg="mod">
          <ac:chgData name="Albie Melia  (EU Projects &amp; Communication Specialist)" userId="2d1a2eb5-dfb4-4d11-8423-60408b1fc395" providerId="ADAL" clId="{A47526F3-5920-42D8-9700-FD6D77559717}" dt="2024-07-12T12:30:23.117" v="1507" actId="20577"/>
          <ac:spMkLst>
            <pc:docMk/>
            <pc:sldMk cId="92644425" sldId="761"/>
            <ac:spMk id="2" creationId="{D677B8A5-EA9A-1D2D-E3C0-080DA4FA37E4}"/>
          </ac:spMkLst>
        </pc:spChg>
        <pc:spChg chg="mod">
          <ac:chgData name="Albie Melia  (EU Projects &amp; Communication Specialist)" userId="2d1a2eb5-dfb4-4d11-8423-60408b1fc395" providerId="ADAL" clId="{A47526F3-5920-42D8-9700-FD6D77559717}" dt="2024-07-12T12:30:34.417" v="1513" actId="20577"/>
          <ac:spMkLst>
            <pc:docMk/>
            <pc:sldMk cId="92644425" sldId="761"/>
            <ac:spMk id="3" creationId="{BE8ACA23-C6E0-4B4C-E6CF-74E456D1A083}"/>
          </ac:spMkLst>
        </pc:spChg>
        <pc:spChg chg="mod">
          <ac:chgData name="Albie Melia  (EU Projects &amp; Communication Specialist)" userId="2d1a2eb5-dfb4-4d11-8423-60408b1fc395" providerId="ADAL" clId="{A47526F3-5920-42D8-9700-FD6D77559717}" dt="2024-07-12T12:30:48.173" v="1517" actId="20577"/>
          <ac:spMkLst>
            <pc:docMk/>
            <pc:sldMk cId="92644425" sldId="761"/>
            <ac:spMk id="4" creationId="{6076C73D-ACDB-C8D4-7CE9-28BA00AFAA3F}"/>
          </ac:spMkLst>
        </pc:spChg>
        <pc:spChg chg="mod">
          <ac:chgData name="Albie Melia  (EU Projects &amp; Communication Specialist)" userId="2d1a2eb5-dfb4-4d11-8423-60408b1fc395" providerId="ADAL" clId="{A47526F3-5920-42D8-9700-FD6D77559717}" dt="2024-07-12T12:30:53.217" v="1520" actId="403"/>
          <ac:spMkLst>
            <pc:docMk/>
            <pc:sldMk cId="92644425" sldId="761"/>
            <ac:spMk id="5" creationId="{F1FE476A-DA9C-0C69-06EA-882BB28C14E6}"/>
          </ac:spMkLst>
        </pc:spChg>
        <pc:spChg chg="mod">
          <ac:chgData name="Albie Melia  (EU Projects &amp; Communication Specialist)" userId="2d1a2eb5-dfb4-4d11-8423-60408b1fc395" providerId="ADAL" clId="{A47526F3-5920-42D8-9700-FD6D77559717}" dt="2024-07-12T12:30:59.696" v="1533" actId="20577"/>
          <ac:spMkLst>
            <pc:docMk/>
            <pc:sldMk cId="92644425" sldId="761"/>
            <ac:spMk id="8" creationId="{F1457A2F-6CF0-0E5E-5303-E6F04699B4DF}"/>
          </ac:spMkLst>
        </pc:spChg>
      </pc:sldChg>
      <pc:sldChg chg="modSp add mod">
        <pc:chgData name="Albie Melia  (EU Projects &amp; Communication Specialist)" userId="2d1a2eb5-dfb4-4d11-8423-60408b1fc395" providerId="ADAL" clId="{A47526F3-5920-42D8-9700-FD6D77559717}" dt="2024-07-12T12:32:07.683" v="1564" actId="403"/>
        <pc:sldMkLst>
          <pc:docMk/>
          <pc:sldMk cId="4006743236" sldId="762"/>
        </pc:sldMkLst>
        <pc:spChg chg="mod">
          <ac:chgData name="Albie Melia  (EU Projects &amp; Communication Specialist)" userId="2d1a2eb5-dfb4-4d11-8423-60408b1fc395" providerId="ADAL" clId="{A47526F3-5920-42D8-9700-FD6D77559717}" dt="2024-07-12T12:31:18.586" v="1538" actId="20577"/>
          <ac:spMkLst>
            <pc:docMk/>
            <pc:sldMk cId="4006743236" sldId="762"/>
            <ac:spMk id="2" creationId="{D677B8A5-EA9A-1D2D-E3C0-080DA4FA37E4}"/>
          </ac:spMkLst>
        </pc:spChg>
        <pc:spChg chg="mod">
          <ac:chgData name="Albie Melia  (EU Projects &amp; Communication Specialist)" userId="2d1a2eb5-dfb4-4d11-8423-60408b1fc395" providerId="ADAL" clId="{A47526F3-5920-42D8-9700-FD6D77559717}" dt="2024-07-12T12:31:25.179" v="1543" actId="403"/>
          <ac:spMkLst>
            <pc:docMk/>
            <pc:sldMk cId="4006743236" sldId="762"/>
            <ac:spMk id="3" creationId="{BE8ACA23-C6E0-4B4C-E6CF-74E456D1A083}"/>
          </ac:spMkLst>
        </pc:spChg>
        <pc:spChg chg="mod">
          <ac:chgData name="Albie Melia  (EU Projects &amp; Communication Specialist)" userId="2d1a2eb5-dfb4-4d11-8423-60408b1fc395" providerId="ADAL" clId="{A47526F3-5920-42D8-9700-FD6D77559717}" dt="2024-07-12T12:32:01.109" v="1561" actId="20577"/>
          <ac:spMkLst>
            <pc:docMk/>
            <pc:sldMk cId="4006743236" sldId="762"/>
            <ac:spMk id="4" creationId="{6076C73D-ACDB-C8D4-7CE9-28BA00AFAA3F}"/>
          </ac:spMkLst>
        </pc:spChg>
        <pc:spChg chg="mod">
          <ac:chgData name="Albie Melia  (EU Projects &amp; Communication Specialist)" userId="2d1a2eb5-dfb4-4d11-8423-60408b1fc395" providerId="ADAL" clId="{A47526F3-5920-42D8-9700-FD6D77559717}" dt="2024-07-12T12:32:07.683" v="1564" actId="403"/>
          <ac:spMkLst>
            <pc:docMk/>
            <pc:sldMk cId="4006743236" sldId="762"/>
            <ac:spMk id="5" creationId="{F1FE476A-DA9C-0C69-06EA-882BB28C14E6}"/>
          </ac:spMkLst>
        </pc:spChg>
        <pc:spChg chg="mod">
          <ac:chgData name="Albie Melia  (EU Projects &amp; Communication Specialist)" userId="2d1a2eb5-dfb4-4d11-8423-60408b1fc395" providerId="ADAL" clId="{A47526F3-5920-42D8-9700-FD6D77559717}" dt="2024-07-12T12:31:40.889" v="1557" actId="14100"/>
          <ac:spMkLst>
            <pc:docMk/>
            <pc:sldMk cId="4006743236" sldId="762"/>
            <ac:spMk id="8" creationId="{F1457A2F-6CF0-0E5E-5303-E6F04699B4DF}"/>
          </ac:spMkLst>
        </pc:spChg>
      </pc:sldChg>
      <pc:sldChg chg="modSp new mod">
        <pc:chgData name="Albie Melia  (EU Projects &amp; Communication Specialist)" userId="2d1a2eb5-dfb4-4d11-8423-60408b1fc395" providerId="ADAL" clId="{A47526F3-5920-42D8-9700-FD6D77559717}" dt="2024-07-12T12:39:13.303" v="1599" actId="20577"/>
        <pc:sldMkLst>
          <pc:docMk/>
          <pc:sldMk cId="2678797204" sldId="763"/>
        </pc:sldMkLst>
        <pc:spChg chg="mod">
          <ac:chgData name="Albie Melia  (EU Projects &amp; Communication Specialist)" userId="2d1a2eb5-dfb4-4d11-8423-60408b1fc395" providerId="ADAL" clId="{A47526F3-5920-42D8-9700-FD6D77559717}" dt="2024-07-12T12:39:07.726" v="1596" actId="1076"/>
          <ac:spMkLst>
            <pc:docMk/>
            <pc:sldMk cId="2678797204" sldId="763"/>
            <ac:spMk id="3" creationId="{B99DF8E9-ACDE-6102-CD4C-07F3ACB9D0BB}"/>
          </ac:spMkLst>
        </pc:spChg>
        <pc:spChg chg="mod">
          <ac:chgData name="Albie Melia  (EU Projects &amp; Communication Specialist)" userId="2d1a2eb5-dfb4-4d11-8423-60408b1fc395" providerId="ADAL" clId="{A47526F3-5920-42D8-9700-FD6D77559717}" dt="2024-07-12T12:39:13.303" v="1599" actId="20577"/>
          <ac:spMkLst>
            <pc:docMk/>
            <pc:sldMk cId="2678797204" sldId="763"/>
            <ac:spMk id="4" creationId="{B87BD777-1E8A-350E-7907-F85EEA9EE7D2}"/>
          </ac:spMkLst>
        </pc:spChg>
      </pc:sldChg>
      <pc:sldChg chg="addSp modSp add mod ord">
        <pc:chgData name="Albie Melia  (EU Projects &amp; Communication Specialist)" userId="2d1a2eb5-dfb4-4d11-8423-60408b1fc395" providerId="ADAL" clId="{A47526F3-5920-42D8-9700-FD6D77559717}" dt="2024-07-12T12:40:51.711" v="1622" actId="113"/>
        <pc:sldMkLst>
          <pc:docMk/>
          <pc:sldMk cId="2267006107" sldId="764"/>
        </pc:sldMkLst>
        <pc:spChg chg="mod">
          <ac:chgData name="Albie Melia  (EU Projects &amp; Communication Specialist)" userId="2d1a2eb5-dfb4-4d11-8423-60408b1fc395" providerId="ADAL" clId="{A47526F3-5920-42D8-9700-FD6D77559717}" dt="2024-07-12T12:40:51.711" v="1622" actId="113"/>
          <ac:spMkLst>
            <pc:docMk/>
            <pc:sldMk cId="2267006107" sldId="764"/>
            <ac:spMk id="3" creationId="{35AC186C-5DE3-6542-A610-70101C6B0F93}"/>
          </ac:spMkLst>
        </pc:spChg>
        <pc:spChg chg="add">
          <ac:chgData name="Albie Melia  (EU Projects &amp; Communication Specialist)" userId="2d1a2eb5-dfb4-4d11-8423-60408b1fc395" providerId="ADAL" clId="{A47526F3-5920-42D8-9700-FD6D77559717}" dt="2024-07-12T12:40:11.648" v="1603"/>
          <ac:spMkLst>
            <pc:docMk/>
            <pc:sldMk cId="2267006107" sldId="764"/>
            <ac:spMk id="4" creationId="{43166DF1-8A6C-3683-4DCE-33F7AE70CAC3}"/>
          </ac:spMkLst>
        </pc:spChg>
        <pc:spChg chg="add">
          <ac:chgData name="Albie Melia  (EU Projects &amp; Communication Specialist)" userId="2d1a2eb5-dfb4-4d11-8423-60408b1fc395" providerId="ADAL" clId="{A47526F3-5920-42D8-9700-FD6D77559717}" dt="2024-07-12T12:40:11.648" v="1603"/>
          <ac:spMkLst>
            <pc:docMk/>
            <pc:sldMk cId="2267006107" sldId="764"/>
            <ac:spMk id="5" creationId="{9C5F7259-66B3-2CE1-A9D9-4CA1E951D251}"/>
          </ac:spMkLst>
        </pc:spChg>
        <pc:spChg chg="add">
          <ac:chgData name="Albie Melia  (EU Projects &amp; Communication Specialist)" userId="2d1a2eb5-dfb4-4d11-8423-60408b1fc395" providerId="ADAL" clId="{A47526F3-5920-42D8-9700-FD6D77559717}" dt="2024-07-12T12:40:11.648" v="1603"/>
          <ac:spMkLst>
            <pc:docMk/>
            <pc:sldMk cId="2267006107" sldId="764"/>
            <ac:spMk id="6" creationId="{BA16EED1-5351-A2AD-CE71-389E48D74CD3}"/>
          </ac:spMkLst>
        </pc:spChg>
      </pc:sldChg>
      <pc:sldChg chg="modSp add mod ord">
        <pc:chgData name="Albie Melia  (EU Projects &amp; Communication Specialist)" userId="2d1a2eb5-dfb4-4d11-8423-60408b1fc395" providerId="ADAL" clId="{A47526F3-5920-42D8-9700-FD6D77559717}" dt="2024-07-12T12:46:11.393" v="1687" actId="14100"/>
        <pc:sldMkLst>
          <pc:docMk/>
          <pc:sldMk cId="314266568" sldId="765"/>
        </pc:sldMkLst>
        <pc:spChg chg="mod">
          <ac:chgData name="Albie Melia  (EU Projects &amp; Communication Specialist)" userId="2d1a2eb5-dfb4-4d11-8423-60408b1fc395" providerId="ADAL" clId="{A47526F3-5920-42D8-9700-FD6D77559717}" dt="2024-07-12T12:44:43.618" v="1645" actId="20577"/>
          <ac:spMkLst>
            <pc:docMk/>
            <pc:sldMk cId="314266568" sldId="765"/>
            <ac:spMk id="3" creationId="{B99DF8E9-ACDE-6102-CD4C-07F3ACB9D0BB}"/>
          </ac:spMkLst>
        </pc:spChg>
        <pc:spChg chg="mod">
          <ac:chgData name="Albie Melia  (EU Projects &amp; Communication Specialist)" userId="2d1a2eb5-dfb4-4d11-8423-60408b1fc395" providerId="ADAL" clId="{A47526F3-5920-42D8-9700-FD6D77559717}" dt="2024-07-12T12:46:11.393" v="1687" actId="14100"/>
          <ac:spMkLst>
            <pc:docMk/>
            <pc:sldMk cId="314266568" sldId="765"/>
            <ac:spMk id="4" creationId="{B87BD777-1E8A-350E-7907-F85EEA9EE7D2}"/>
          </ac:spMkLst>
        </pc:spChg>
      </pc:sldChg>
      <pc:sldChg chg="modSp add mod ord">
        <pc:chgData name="Albie Melia  (EU Projects &amp; Communication Specialist)" userId="2d1a2eb5-dfb4-4d11-8423-60408b1fc395" providerId="ADAL" clId="{A47526F3-5920-42D8-9700-FD6D77559717}" dt="2024-07-12T12:49:12.218" v="1696"/>
        <pc:sldMkLst>
          <pc:docMk/>
          <pc:sldMk cId="2959706100" sldId="766"/>
        </pc:sldMkLst>
        <pc:spChg chg="mod">
          <ac:chgData name="Albie Melia  (EU Projects &amp; Communication Specialist)" userId="2d1a2eb5-dfb4-4d11-8423-60408b1fc395" providerId="ADAL" clId="{A47526F3-5920-42D8-9700-FD6D77559717}" dt="2024-07-12T12:49:00.882" v="1695" actId="20577"/>
          <ac:spMkLst>
            <pc:docMk/>
            <pc:sldMk cId="2959706100" sldId="766"/>
            <ac:spMk id="3" creationId="{DA99C726-EEB8-A064-EA02-A4AF797D25D2}"/>
          </ac:spMkLst>
        </pc:spChg>
        <pc:spChg chg="mod">
          <ac:chgData name="Albie Melia  (EU Projects &amp; Communication Specialist)" userId="2d1a2eb5-dfb4-4d11-8423-60408b1fc395" providerId="ADAL" clId="{A47526F3-5920-42D8-9700-FD6D77559717}" dt="2024-07-12T12:49:12.218" v="1696"/>
          <ac:spMkLst>
            <pc:docMk/>
            <pc:sldMk cId="2959706100" sldId="766"/>
            <ac:spMk id="11" creationId="{09DE250D-399D-3046-A104-9E1DCF4E2437}"/>
          </ac:spMkLst>
        </pc:spChg>
      </pc:sldChg>
      <pc:sldChg chg="modSp add mod ord">
        <pc:chgData name="Albie Melia  (EU Projects &amp; Communication Specialist)" userId="2d1a2eb5-dfb4-4d11-8423-60408b1fc395" providerId="ADAL" clId="{A47526F3-5920-42D8-9700-FD6D77559717}" dt="2024-07-12T13:28:40.789" v="1725" actId="20577"/>
        <pc:sldMkLst>
          <pc:docMk/>
          <pc:sldMk cId="3879872716" sldId="767"/>
        </pc:sldMkLst>
        <pc:spChg chg="mod">
          <ac:chgData name="Albie Melia  (EU Projects &amp; Communication Specialist)" userId="2d1a2eb5-dfb4-4d11-8423-60408b1fc395" providerId="ADAL" clId="{A47526F3-5920-42D8-9700-FD6D77559717}" dt="2024-07-12T13:28:40.789" v="1725" actId="20577"/>
          <ac:spMkLst>
            <pc:docMk/>
            <pc:sldMk cId="3879872716" sldId="767"/>
            <ac:spMk id="67" creationId="{76EC7856-B0EC-004E-A2BE-9CF77555B8D1}"/>
          </ac:spMkLst>
        </pc:spChg>
      </pc:sldChg>
      <pc:sldChg chg="modSp add mod ord">
        <pc:chgData name="Albie Melia  (EU Projects &amp; Communication Specialist)" userId="2d1a2eb5-dfb4-4d11-8423-60408b1fc395" providerId="ADAL" clId="{A47526F3-5920-42D8-9700-FD6D77559717}" dt="2024-07-12T15:03:38.836" v="2189" actId="20577"/>
        <pc:sldMkLst>
          <pc:docMk/>
          <pc:sldMk cId="13540822" sldId="768"/>
        </pc:sldMkLst>
        <pc:spChg chg="mod">
          <ac:chgData name="Albie Melia  (EU Projects &amp; Communication Specialist)" userId="2d1a2eb5-dfb4-4d11-8423-60408b1fc395" providerId="ADAL" clId="{A47526F3-5920-42D8-9700-FD6D77559717}" dt="2024-07-12T15:03:38.836" v="2189" actId="20577"/>
          <ac:spMkLst>
            <pc:docMk/>
            <pc:sldMk cId="13540822" sldId="768"/>
            <ac:spMk id="3" creationId="{35AC186C-5DE3-6542-A610-70101C6B0F93}"/>
          </ac:spMkLst>
        </pc:spChg>
      </pc:sldChg>
      <pc:sldChg chg="addSp delSp modSp new mod">
        <pc:chgData name="Albie Melia  (EU Projects &amp; Communication Specialist)" userId="2d1a2eb5-dfb4-4d11-8423-60408b1fc395" providerId="ADAL" clId="{A47526F3-5920-42D8-9700-FD6D77559717}" dt="2024-07-12T14:24:28.411" v="1734"/>
        <pc:sldMkLst>
          <pc:docMk/>
          <pc:sldMk cId="412259386" sldId="769"/>
        </pc:sldMkLst>
        <pc:spChg chg="mod">
          <ac:chgData name="Albie Melia  (EU Projects &amp; Communication Specialist)" userId="2d1a2eb5-dfb4-4d11-8423-60408b1fc395" providerId="ADAL" clId="{A47526F3-5920-42D8-9700-FD6D77559717}" dt="2024-07-12T14:24:28.411" v="1734"/>
          <ac:spMkLst>
            <pc:docMk/>
            <pc:sldMk cId="412259386" sldId="769"/>
            <ac:spMk id="2" creationId="{D0180CBB-1AE3-B9B5-5BE9-8ACA807E3CAB}"/>
          </ac:spMkLst>
        </pc:spChg>
        <pc:spChg chg="add del mod">
          <ac:chgData name="Albie Melia  (EU Projects &amp; Communication Specialist)" userId="2d1a2eb5-dfb4-4d11-8423-60408b1fc395" providerId="ADAL" clId="{A47526F3-5920-42D8-9700-FD6D77559717}" dt="2024-07-12T14:24:19.117" v="1733" actId="123"/>
          <ac:spMkLst>
            <pc:docMk/>
            <pc:sldMk cId="412259386" sldId="769"/>
            <ac:spMk id="3" creationId="{FB3F0A68-ED83-2BCE-4835-F603EE56477D}"/>
          </ac:spMkLst>
        </pc:spChg>
        <pc:spChg chg="add mod">
          <ac:chgData name="Albie Melia  (EU Projects &amp; Communication Specialist)" userId="2d1a2eb5-dfb4-4d11-8423-60408b1fc395" providerId="ADAL" clId="{A47526F3-5920-42D8-9700-FD6D77559717}" dt="2024-07-12T14:24:10.508" v="1728"/>
          <ac:spMkLst>
            <pc:docMk/>
            <pc:sldMk cId="412259386" sldId="769"/>
            <ac:spMk id="4" creationId="{D6E7C288-C640-4B24-9709-B8C0155E0834}"/>
          </ac:spMkLst>
        </pc:spChg>
      </pc:sldChg>
      <pc:sldChg chg="modSp new mod">
        <pc:chgData name="Albie Melia  (EU Projects &amp; Communication Specialist)" userId="2d1a2eb5-dfb4-4d11-8423-60408b1fc395" providerId="ADAL" clId="{A47526F3-5920-42D8-9700-FD6D77559717}" dt="2024-07-12T14:26:54.074" v="1906" actId="20577"/>
        <pc:sldMkLst>
          <pc:docMk/>
          <pc:sldMk cId="2596117776" sldId="770"/>
        </pc:sldMkLst>
        <pc:spChg chg="mod">
          <ac:chgData name="Albie Melia  (EU Projects &amp; Communication Specialist)" userId="2d1a2eb5-dfb4-4d11-8423-60408b1fc395" providerId="ADAL" clId="{A47526F3-5920-42D8-9700-FD6D77559717}" dt="2024-07-12T14:25:27.772" v="1740" actId="20577"/>
          <ac:spMkLst>
            <pc:docMk/>
            <pc:sldMk cId="2596117776" sldId="770"/>
            <ac:spMk id="2" creationId="{E835D7B2-0DE3-5688-EA7F-16A4237CC2EF}"/>
          </ac:spMkLst>
        </pc:spChg>
        <pc:spChg chg="mod">
          <ac:chgData name="Albie Melia  (EU Projects &amp; Communication Specialist)" userId="2d1a2eb5-dfb4-4d11-8423-60408b1fc395" providerId="ADAL" clId="{A47526F3-5920-42D8-9700-FD6D77559717}" dt="2024-07-12T14:26:10.202" v="1795" actId="123"/>
          <ac:spMkLst>
            <pc:docMk/>
            <pc:sldMk cId="2596117776" sldId="770"/>
            <ac:spMk id="3" creationId="{11A56D87-965A-EB1E-C50B-ED6F455EC65A}"/>
          </ac:spMkLst>
        </pc:spChg>
        <pc:spChg chg="mod">
          <ac:chgData name="Albie Melia  (EU Projects &amp; Communication Specialist)" userId="2d1a2eb5-dfb4-4d11-8423-60408b1fc395" providerId="ADAL" clId="{A47526F3-5920-42D8-9700-FD6D77559717}" dt="2024-07-12T14:25:42.669" v="1745" actId="20577"/>
          <ac:spMkLst>
            <pc:docMk/>
            <pc:sldMk cId="2596117776" sldId="770"/>
            <ac:spMk id="4" creationId="{0079C553-4B72-B5B3-9CC4-BB613B58D6EB}"/>
          </ac:spMkLst>
        </pc:spChg>
        <pc:spChg chg="mod">
          <ac:chgData name="Albie Melia  (EU Projects &amp; Communication Specialist)" userId="2d1a2eb5-dfb4-4d11-8423-60408b1fc395" providerId="ADAL" clId="{A47526F3-5920-42D8-9700-FD6D77559717}" dt="2024-07-12T14:26:18.197" v="1798" actId="20577"/>
          <ac:spMkLst>
            <pc:docMk/>
            <pc:sldMk cId="2596117776" sldId="770"/>
            <ac:spMk id="5" creationId="{0B219197-84B0-BDB8-BE87-38514AB9F439}"/>
          </ac:spMkLst>
        </pc:spChg>
        <pc:spChg chg="mod">
          <ac:chgData name="Albie Melia  (EU Projects &amp; Communication Specialist)" userId="2d1a2eb5-dfb4-4d11-8423-60408b1fc395" providerId="ADAL" clId="{A47526F3-5920-42D8-9700-FD6D77559717}" dt="2024-07-12T14:26:52.288" v="1904" actId="20577"/>
          <ac:spMkLst>
            <pc:docMk/>
            <pc:sldMk cId="2596117776" sldId="770"/>
            <ac:spMk id="6" creationId="{86701C2F-29FA-681A-2B06-209828014B6B}"/>
          </ac:spMkLst>
        </pc:spChg>
        <pc:spChg chg="mod">
          <ac:chgData name="Albie Melia  (EU Projects &amp; Communication Specialist)" userId="2d1a2eb5-dfb4-4d11-8423-60408b1fc395" providerId="ADAL" clId="{A47526F3-5920-42D8-9700-FD6D77559717}" dt="2024-07-12T14:26:54.074" v="1906" actId="20577"/>
          <ac:spMkLst>
            <pc:docMk/>
            <pc:sldMk cId="2596117776" sldId="770"/>
            <ac:spMk id="7" creationId="{276AE8E7-11F0-2AD1-5C01-6CF2722B5928}"/>
          </ac:spMkLst>
        </pc:spChg>
      </pc:sldChg>
      <pc:sldChg chg="modSp new mod">
        <pc:chgData name="Albie Melia  (EU Projects &amp; Communication Specialist)" userId="2d1a2eb5-dfb4-4d11-8423-60408b1fc395" providerId="ADAL" clId="{A47526F3-5920-42D8-9700-FD6D77559717}" dt="2024-07-12T14:27:32.572" v="1921" actId="20577"/>
        <pc:sldMkLst>
          <pc:docMk/>
          <pc:sldMk cId="4060030456" sldId="771"/>
        </pc:sldMkLst>
        <pc:spChg chg="mod">
          <ac:chgData name="Albie Melia  (EU Projects &amp; Communication Specialist)" userId="2d1a2eb5-dfb4-4d11-8423-60408b1fc395" providerId="ADAL" clId="{A47526F3-5920-42D8-9700-FD6D77559717}" dt="2024-07-12T14:27:15.644" v="1913" actId="20577"/>
          <ac:spMkLst>
            <pc:docMk/>
            <pc:sldMk cId="4060030456" sldId="771"/>
            <ac:spMk id="2" creationId="{3CF26E2F-597F-EFF3-50C1-BB2800C45BB9}"/>
          </ac:spMkLst>
        </pc:spChg>
        <pc:spChg chg="mod">
          <ac:chgData name="Albie Melia  (EU Projects &amp; Communication Specialist)" userId="2d1a2eb5-dfb4-4d11-8423-60408b1fc395" providerId="ADAL" clId="{A47526F3-5920-42D8-9700-FD6D77559717}" dt="2024-07-12T14:27:14.189" v="1911" actId="21"/>
          <ac:spMkLst>
            <pc:docMk/>
            <pc:sldMk cId="4060030456" sldId="771"/>
            <ac:spMk id="3" creationId="{1E357A3E-693C-23C7-90B6-9EFEB28860A7}"/>
          </ac:spMkLst>
        </pc:spChg>
        <pc:spChg chg="mod">
          <ac:chgData name="Albie Melia  (EU Projects &amp; Communication Specialist)" userId="2d1a2eb5-dfb4-4d11-8423-60408b1fc395" providerId="ADAL" clId="{A47526F3-5920-42D8-9700-FD6D77559717}" dt="2024-07-12T14:27:30.599" v="1919" actId="20577"/>
          <ac:spMkLst>
            <pc:docMk/>
            <pc:sldMk cId="4060030456" sldId="771"/>
            <ac:spMk id="4" creationId="{1BCBA5BB-2F26-116C-00E2-626CF5030566}"/>
          </ac:spMkLst>
        </pc:spChg>
        <pc:spChg chg="mod">
          <ac:chgData name="Albie Melia  (EU Projects &amp; Communication Specialist)" userId="2d1a2eb5-dfb4-4d11-8423-60408b1fc395" providerId="ADAL" clId="{A47526F3-5920-42D8-9700-FD6D77559717}" dt="2024-07-12T14:27:32.572" v="1921" actId="20577"/>
          <ac:spMkLst>
            <pc:docMk/>
            <pc:sldMk cId="4060030456" sldId="771"/>
            <ac:spMk id="5" creationId="{43393067-BC16-CDB1-971F-424AB0831B03}"/>
          </ac:spMkLst>
        </pc:spChg>
      </pc:sldChg>
      <pc:sldChg chg="modSp new mod">
        <pc:chgData name="Albie Melia  (EU Projects &amp; Communication Specialist)" userId="2d1a2eb5-dfb4-4d11-8423-60408b1fc395" providerId="ADAL" clId="{A47526F3-5920-42D8-9700-FD6D77559717}" dt="2024-07-12T14:42:53.319" v="1927"/>
        <pc:sldMkLst>
          <pc:docMk/>
          <pc:sldMk cId="4282541145" sldId="772"/>
        </pc:sldMkLst>
        <pc:spChg chg="mod">
          <ac:chgData name="Albie Melia  (EU Projects &amp; Communication Specialist)" userId="2d1a2eb5-dfb4-4d11-8423-60408b1fc395" providerId="ADAL" clId="{A47526F3-5920-42D8-9700-FD6D77559717}" dt="2024-07-12T14:42:53.319" v="1927"/>
          <ac:spMkLst>
            <pc:docMk/>
            <pc:sldMk cId="4282541145" sldId="772"/>
            <ac:spMk id="2" creationId="{1F59965C-12F1-050D-C10B-AB9DDED6CB54}"/>
          </ac:spMkLst>
        </pc:spChg>
        <pc:spChg chg="mod">
          <ac:chgData name="Albie Melia  (EU Projects &amp; Communication Specialist)" userId="2d1a2eb5-dfb4-4d11-8423-60408b1fc395" providerId="ADAL" clId="{A47526F3-5920-42D8-9700-FD6D77559717}" dt="2024-07-12T14:42:43.436" v="1926" actId="123"/>
          <ac:spMkLst>
            <pc:docMk/>
            <pc:sldMk cId="4282541145" sldId="772"/>
            <ac:spMk id="3" creationId="{2443C238-C6DA-8F7C-82CE-95A6B7C4B24E}"/>
          </ac:spMkLst>
        </pc:spChg>
      </pc:sldChg>
      <pc:sldChg chg="modSp add mod ord">
        <pc:chgData name="Albie Melia  (EU Projects &amp; Communication Specialist)" userId="2d1a2eb5-dfb4-4d11-8423-60408b1fc395" providerId="ADAL" clId="{A47526F3-5920-42D8-9700-FD6D77559717}" dt="2024-07-12T14:46:45.394" v="1968" actId="14100"/>
        <pc:sldMkLst>
          <pc:docMk/>
          <pc:sldMk cId="3903086940" sldId="773"/>
        </pc:sldMkLst>
        <pc:spChg chg="mod">
          <ac:chgData name="Albie Melia  (EU Projects &amp; Communication Specialist)" userId="2d1a2eb5-dfb4-4d11-8423-60408b1fc395" providerId="ADAL" clId="{A47526F3-5920-42D8-9700-FD6D77559717}" dt="2024-07-12T14:45:19.910" v="1938" actId="20577"/>
          <ac:spMkLst>
            <pc:docMk/>
            <pc:sldMk cId="3903086940" sldId="773"/>
            <ac:spMk id="2" creationId="{D677B8A5-EA9A-1D2D-E3C0-080DA4FA37E4}"/>
          </ac:spMkLst>
        </pc:spChg>
        <pc:spChg chg="mod">
          <ac:chgData name="Albie Melia  (EU Projects &amp; Communication Specialist)" userId="2d1a2eb5-dfb4-4d11-8423-60408b1fc395" providerId="ADAL" clId="{A47526F3-5920-42D8-9700-FD6D77559717}" dt="2024-07-12T14:45:38.270" v="1942" actId="20577"/>
          <ac:spMkLst>
            <pc:docMk/>
            <pc:sldMk cId="3903086940" sldId="773"/>
            <ac:spMk id="3" creationId="{BE8ACA23-C6E0-4B4C-E6CF-74E456D1A083}"/>
          </ac:spMkLst>
        </pc:spChg>
        <pc:spChg chg="mod">
          <ac:chgData name="Albie Melia  (EU Projects &amp; Communication Specialist)" userId="2d1a2eb5-dfb4-4d11-8423-60408b1fc395" providerId="ADAL" clId="{A47526F3-5920-42D8-9700-FD6D77559717}" dt="2024-07-12T14:46:17.352" v="1946" actId="20577"/>
          <ac:spMkLst>
            <pc:docMk/>
            <pc:sldMk cId="3903086940" sldId="773"/>
            <ac:spMk id="4" creationId="{6076C73D-ACDB-C8D4-7CE9-28BA00AFAA3F}"/>
          </ac:spMkLst>
        </pc:spChg>
        <pc:spChg chg="mod">
          <ac:chgData name="Albie Melia  (EU Projects &amp; Communication Specialist)" userId="2d1a2eb5-dfb4-4d11-8423-60408b1fc395" providerId="ADAL" clId="{A47526F3-5920-42D8-9700-FD6D77559717}" dt="2024-07-12T14:46:33.085" v="1953" actId="20577"/>
          <ac:spMkLst>
            <pc:docMk/>
            <pc:sldMk cId="3903086940" sldId="773"/>
            <ac:spMk id="5" creationId="{F1FE476A-DA9C-0C69-06EA-882BB28C14E6}"/>
          </ac:spMkLst>
        </pc:spChg>
        <pc:spChg chg="mod">
          <ac:chgData name="Albie Melia  (EU Projects &amp; Communication Specialist)" userId="2d1a2eb5-dfb4-4d11-8423-60408b1fc395" providerId="ADAL" clId="{A47526F3-5920-42D8-9700-FD6D77559717}" dt="2024-07-12T14:46:45.394" v="1968" actId="14100"/>
          <ac:spMkLst>
            <pc:docMk/>
            <pc:sldMk cId="3903086940" sldId="773"/>
            <ac:spMk id="8" creationId="{F1457A2F-6CF0-0E5E-5303-E6F04699B4DF}"/>
          </ac:spMkLst>
        </pc:spChg>
      </pc:sldChg>
      <pc:sldChg chg="modSp add mod">
        <pc:chgData name="Albie Melia  (EU Projects &amp; Communication Specialist)" userId="2d1a2eb5-dfb4-4d11-8423-60408b1fc395" providerId="ADAL" clId="{A47526F3-5920-42D8-9700-FD6D77559717}" dt="2024-07-12T14:50:23.445" v="2036" actId="20577"/>
        <pc:sldMkLst>
          <pc:docMk/>
          <pc:sldMk cId="339878881" sldId="774"/>
        </pc:sldMkLst>
        <pc:spChg chg="mod">
          <ac:chgData name="Albie Melia  (EU Projects &amp; Communication Specialist)" userId="2d1a2eb5-dfb4-4d11-8423-60408b1fc395" providerId="ADAL" clId="{A47526F3-5920-42D8-9700-FD6D77559717}" dt="2024-07-12T14:47:17.630" v="1980" actId="20577"/>
          <ac:spMkLst>
            <pc:docMk/>
            <pc:sldMk cId="339878881" sldId="774"/>
            <ac:spMk id="2" creationId="{D677B8A5-EA9A-1D2D-E3C0-080DA4FA37E4}"/>
          </ac:spMkLst>
        </pc:spChg>
        <pc:spChg chg="mod">
          <ac:chgData name="Albie Melia  (EU Projects &amp; Communication Specialist)" userId="2d1a2eb5-dfb4-4d11-8423-60408b1fc395" providerId="ADAL" clId="{A47526F3-5920-42D8-9700-FD6D77559717}" dt="2024-07-12T14:48:42.664" v="1988" actId="20577"/>
          <ac:spMkLst>
            <pc:docMk/>
            <pc:sldMk cId="339878881" sldId="774"/>
            <ac:spMk id="3" creationId="{BE8ACA23-C6E0-4B4C-E6CF-74E456D1A083}"/>
          </ac:spMkLst>
        </pc:spChg>
        <pc:spChg chg="mod">
          <ac:chgData name="Albie Melia  (EU Projects &amp; Communication Specialist)" userId="2d1a2eb5-dfb4-4d11-8423-60408b1fc395" providerId="ADAL" clId="{A47526F3-5920-42D8-9700-FD6D77559717}" dt="2024-07-12T14:50:23.445" v="2036" actId="20577"/>
          <ac:spMkLst>
            <pc:docMk/>
            <pc:sldMk cId="339878881" sldId="774"/>
            <ac:spMk id="4" creationId="{6076C73D-ACDB-C8D4-7CE9-28BA00AFAA3F}"/>
          </ac:spMkLst>
        </pc:spChg>
        <pc:spChg chg="mod">
          <ac:chgData name="Albie Melia  (EU Projects &amp; Communication Specialist)" userId="2d1a2eb5-dfb4-4d11-8423-60408b1fc395" providerId="ADAL" clId="{A47526F3-5920-42D8-9700-FD6D77559717}" dt="2024-07-12T14:50:15.679" v="2019" actId="20577"/>
          <ac:spMkLst>
            <pc:docMk/>
            <pc:sldMk cId="339878881" sldId="774"/>
            <ac:spMk id="5" creationId="{F1FE476A-DA9C-0C69-06EA-882BB28C14E6}"/>
          </ac:spMkLst>
        </pc:spChg>
        <pc:spChg chg="mod">
          <ac:chgData name="Albie Melia  (EU Projects &amp; Communication Specialist)" userId="2d1a2eb5-dfb4-4d11-8423-60408b1fc395" providerId="ADAL" clId="{A47526F3-5920-42D8-9700-FD6D77559717}" dt="2024-07-12T14:47:12.225" v="1976" actId="14100"/>
          <ac:spMkLst>
            <pc:docMk/>
            <pc:sldMk cId="339878881" sldId="774"/>
            <ac:spMk id="8" creationId="{F1457A2F-6CF0-0E5E-5303-E6F04699B4DF}"/>
          </ac:spMkLst>
        </pc:spChg>
      </pc:sldChg>
      <pc:sldChg chg="modSp new mod">
        <pc:chgData name="Albie Melia  (EU Projects &amp; Communication Specialist)" userId="2d1a2eb5-dfb4-4d11-8423-60408b1fc395" providerId="ADAL" clId="{A47526F3-5920-42D8-9700-FD6D77559717}" dt="2024-07-12T14:55:21.632" v="2045" actId="1076"/>
        <pc:sldMkLst>
          <pc:docMk/>
          <pc:sldMk cId="774535940" sldId="775"/>
        </pc:sldMkLst>
        <pc:spChg chg="mod">
          <ac:chgData name="Albie Melia  (EU Projects &amp; Communication Specialist)" userId="2d1a2eb5-dfb4-4d11-8423-60408b1fc395" providerId="ADAL" clId="{A47526F3-5920-42D8-9700-FD6D77559717}" dt="2024-07-12T14:55:03.789" v="2039" actId="14100"/>
          <ac:spMkLst>
            <pc:docMk/>
            <pc:sldMk cId="774535940" sldId="775"/>
            <ac:spMk id="3" creationId="{395EBD14-11E9-1D21-87B8-8CA67DE6ACF4}"/>
          </ac:spMkLst>
        </pc:spChg>
        <pc:spChg chg="mod">
          <ac:chgData name="Albie Melia  (EU Projects &amp; Communication Specialist)" userId="2d1a2eb5-dfb4-4d11-8423-60408b1fc395" providerId="ADAL" clId="{A47526F3-5920-42D8-9700-FD6D77559717}" dt="2024-07-12T14:55:21.632" v="2045" actId="1076"/>
          <ac:spMkLst>
            <pc:docMk/>
            <pc:sldMk cId="774535940" sldId="775"/>
            <ac:spMk id="4" creationId="{F9700A35-0E13-5869-755E-7F304371AD36}"/>
          </ac:spMkLst>
        </pc:spChg>
      </pc:sldChg>
      <pc:sldChg chg="delSp modSp new mod">
        <pc:chgData name="Albie Melia  (EU Projects &amp; Communication Specialist)" userId="2d1a2eb5-dfb4-4d11-8423-60408b1fc395" providerId="ADAL" clId="{A47526F3-5920-42D8-9700-FD6D77559717}" dt="2024-07-12T14:56:24.890" v="2071" actId="123"/>
        <pc:sldMkLst>
          <pc:docMk/>
          <pc:sldMk cId="3158126355" sldId="776"/>
        </pc:sldMkLst>
        <pc:spChg chg="del">
          <ac:chgData name="Albie Melia  (EU Projects &amp; Communication Specialist)" userId="2d1a2eb5-dfb4-4d11-8423-60408b1fc395" providerId="ADAL" clId="{A47526F3-5920-42D8-9700-FD6D77559717}" dt="2024-07-12T14:56:07.291" v="2055" actId="478"/>
          <ac:spMkLst>
            <pc:docMk/>
            <pc:sldMk cId="3158126355" sldId="776"/>
            <ac:spMk id="2" creationId="{7554BF13-6B7C-FBAC-021B-0E453F0B6956}"/>
          </ac:spMkLst>
        </pc:spChg>
        <pc:spChg chg="mod">
          <ac:chgData name="Albie Melia  (EU Projects &amp; Communication Specialist)" userId="2d1a2eb5-dfb4-4d11-8423-60408b1fc395" providerId="ADAL" clId="{A47526F3-5920-42D8-9700-FD6D77559717}" dt="2024-07-12T14:56:24.890" v="2071" actId="123"/>
          <ac:spMkLst>
            <pc:docMk/>
            <pc:sldMk cId="3158126355" sldId="776"/>
            <ac:spMk id="3" creationId="{FFC9E2D6-1656-DC73-9AB4-2F37BC2FFAAA}"/>
          </ac:spMkLst>
        </pc:spChg>
      </pc:sldChg>
      <pc:sldChg chg="modSp new mod">
        <pc:chgData name="Albie Melia  (EU Projects &amp; Communication Specialist)" userId="2d1a2eb5-dfb4-4d11-8423-60408b1fc395" providerId="ADAL" clId="{A47526F3-5920-42D8-9700-FD6D77559717}" dt="2024-07-12T15:00:01.659" v="2087" actId="20577"/>
        <pc:sldMkLst>
          <pc:docMk/>
          <pc:sldMk cId="2531942116" sldId="777"/>
        </pc:sldMkLst>
        <pc:spChg chg="mod">
          <ac:chgData name="Albie Melia  (EU Projects &amp; Communication Specialist)" userId="2d1a2eb5-dfb4-4d11-8423-60408b1fc395" providerId="ADAL" clId="{A47526F3-5920-42D8-9700-FD6D77559717}" dt="2024-07-12T14:59:28.593" v="2076" actId="1076"/>
          <ac:spMkLst>
            <pc:docMk/>
            <pc:sldMk cId="2531942116" sldId="777"/>
            <ac:spMk id="3" creationId="{279F8615-E5FF-4731-54A8-B0D9C2F930A2}"/>
          </ac:spMkLst>
        </pc:spChg>
        <pc:spChg chg="mod">
          <ac:chgData name="Albie Melia  (EU Projects &amp; Communication Specialist)" userId="2d1a2eb5-dfb4-4d11-8423-60408b1fc395" providerId="ADAL" clId="{A47526F3-5920-42D8-9700-FD6D77559717}" dt="2024-07-12T15:00:01.659" v="2087" actId="20577"/>
          <ac:spMkLst>
            <pc:docMk/>
            <pc:sldMk cId="2531942116" sldId="777"/>
            <ac:spMk id="4" creationId="{93A88577-5D92-0A07-CB7A-FEC814F6A30F}"/>
          </ac:spMkLst>
        </pc:spChg>
      </pc:sldChg>
      <pc:sldChg chg="new del">
        <pc:chgData name="Albie Melia  (EU Projects &amp; Communication Specialist)" userId="2d1a2eb5-dfb4-4d11-8423-60408b1fc395" providerId="ADAL" clId="{A47526F3-5920-42D8-9700-FD6D77559717}" dt="2024-07-12T14:59:18.694" v="2073" actId="47"/>
        <pc:sldMkLst>
          <pc:docMk/>
          <pc:sldMk cId="2604475818" sldId="777"/>
        </pc:sldMkLst>
      </pc:sldChg>
      <pc:sldChg chg="modSp add mod">
        <pc:chgData name="Albie Melia  (EU Projects &amp; Communication Specialist)" userId="2d1a2eb5-dfb4-4d11-8423-60408b1fc395" providerId="ADAL" clId="{A47526F3-5920-42D8-9700-FD6D77559717}" dt="2024-07-12T15:01:40.510" v="2126" actId="20577"/>
        <pc:sldMkLst>
          <pc:docMk/>
          <pc:sldMk cId="331596586" sldId="778"/>
        </pc:sldMkLst>
        <pc:spChg chg="mod">
          <ac:chgData name="Albie Melia  (EU Projects &amp; Communication Specialist)" userId="2d1a2eb5-dfb4-4d11-8423-60408b1fc395" providerId="ADAL" clId="{A47526F3-5920-42D8-9700-FD6D77559717}" dt="2024-07-12T15:01:40.510" v="2126" actId="20577"/>
          <ac:spMkLst>
            <pc:docMk/>
            <pc:sldMk cId="331596586" sldId="778"/>
            <ac:spMk id="4" creationId="{93A88577-5D92-0A07-CB7A-FEC814F6A30F}"/>
          </ac:spMkLst>
        </pc:spChg>
      </pc:sldChg>
      <pc:sldChg chg="modSp add mod ord">
        <pc:chgData name="Albie Melia  (EU Projects &amp; Communication Specialist)" userId="2d1a2eb5-dfb4-4d11-8423-60408b1fc395" providerId="ADAL" clId="{A47526F3-5920-42D8-9700-FD6D77559717}" dt="2024-07-12T15:05:28.327" v="2204" actId="20577"/>
        <pc:sldMkLst>
          <pc:docMk/>
          <pc:sldMk cId="4152271794" sldId="779"/>
        </pc:sldMkLst>
        <pc:spChg chg="mod">
          <ac:chgData name="Albie Melia  (EU Projects &amp; Communication Specialist)" userId="2d1a2eb5-dfb4-4d11-8423-60408b1fc395" providerId="ADAL" clId="{A47526F3-5920-42D8-9700-FD6D77559717}" dt="2024-07-12T15:05:28.327" v="2204" actId="20577"/>
          <ac:spMkLst>
            <pc:docMk/>
            <pc:sldMk cId="4152271794" sldId="779"/>
            <ac:spMk id="4" creationId="{B87BD777-1E8A-350E-7907-F85EEA9EE7D2}"/>
          </ac:spMkLst>
        </pc:spChg>
      </pc:sldChg>
      <pc:sldChg chg="modSp add mod ord">
        <pc:chgData name="Albie Melia  (EU Projects &amp; Communication Specialist)" userId="2d1a2eb5-dfb4-4d11-8423-60408b1fc395" providerId="ADAL" clId="{A47526F3-5920-42D8-9700-FD6D77559717}" dt="2024-07-12T15:09:44.350" v="2296" actId="1076"/>
        <pc:sldMkLst>
          <pc:docMk/>
          <pc:sldMk cId="2091132721" sldId="780"/>
        </pc:sldMkLst>
        <pc:spChg chg="mod">
          <ac:chgData name="Albie Melia  (EU Projects &amp; Communication Specialist)" userId="2d1a2eb5-dfb4-4d11-8423-60408b1fc395" providerId="ADAL" clId="{A47526F3-5920-42D8-9700-FD6D77559717}" dt="2024-07-12T15:09:42.163" v="2295" actId="1076"/>
          <ac:spMkLst>
            <pc:docMk/>
            <pc:sldMk cId="2091132721" sldId="780"/>
            <ac:spMk id="3" creationId="{B99DF8E9-ACDE-6102-CD4C-07F3ACB9D0BB}"/>
          </ac:spMkLst>
        </pc:spChg>
        <pc:spChg chg="mod">
          <ac:chgData name="Albie Melia  (EU Projects &amp; Communication Specialist)" userId="2d1a2eb5-dfb4-4d11-8423-60408b1fc395" providerId="ADAL" clId="{A47526F3-5920-42D8-9700-FD6D77559717}" dt="2024-07-12T15:09:44.350" v="2296" actId="1076"/>
          <ac:spMkLst>
            <pc:docMk/>
            <pc:sldMk cId="2091132721" sldId="780"/>
            <ac:spMk id="4" creationId="{B87BD777-1E8A-350E-7907-F85EEA9EE7D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965491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387924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310264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17664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221177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802067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91745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333096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224647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2449438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964"/>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3360823"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3595395" y="511081"/>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4789714" y="2412091"/>
            <a:ext cx="6877679"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079757558"/>
      </p:ext>
    </p:extLst>
  </p:cSld>
  <p:clrMapOvr>
    <a:masterClrMapping/>
  </p:clrMapOvr>
  <p:extLst>
    <p:ext uri="{DCECCB84-F9BA-43D5-87BE-67443E8EF086}">
      <p15:sldGuideLst xmlns:p15="http://schemas.microsoft.com/office/powerpoint/2012/main">
        <p15:guide id="1" pos="475">
          <p15:clr>
            <a:srgbClr val="FBAE40"/>
          </p15:clr>
        </p15:guide>
        <p15:guide id="2" pos="71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6036690"/>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4085496124"/>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1166648"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531038"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738952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45496D4-1759-544E-2701-BFE5B49AE957}"/>
              </a:ext>
            </a:extLst>
          </p:cNvPr>
          <p:cNvGraphicFramePr>
            <a:graphicFrameLocks noChangeAspect="1"/>
          </p:cNvGraphicFramePr>
          <p:nvPr userDrawn="1">
            <p:custDataLst>
              <p:tags r:id="rId21"/>
            </p:custDataLst>
            <p:extLst>
              <p:ext uri="{D42A27DB-BD31-4B8C-83A1-F6EECF244321}">
                <p14:modId xmlns:p14="http://schemas.microsoft.com/office/powerpoint/2010/main" val="306968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538" imgH="540" progId="TCLayout.ActiveDocument.1">
                  <p:embed/>
                </p:oleObj>
              </mc:Choice>
              <mc:Fallback>
                <p:oleObj name="think-cell Folie" r:id="rId22" imgW="538" imgH="54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2" r:id="rId5"/>
    <p:sldLayoutId id="2147483703" r:id="rId6"/>
    <p:sldLayoutId id="2147483700" r:id="rId7"/>
    <p:sldLayoutId id="2147483723" r:id="rId8"/>
    <p:sldLayoutId id="2147483741" r:id="rId9"/>
    <p:sldLayoutId id="2147483698" r:id="rId10"/>
    <p:sldLayoutId id="2147483695" r:id="rId11"/>
    <p:sldLayoutId id="2147483735" r:id="rId12"/>
    <p:sldLayoutId id="2147483734" r:id="rId13"/>
    <p:sldLayoutId id="2147483739" r:id="rId14"/>
    <p:sldLayoutId id="2147483708" r:id="rId15"/>
    <p:sldLayoutId id="2147483733" r:id="rId16"/>
    <p:sldLayoutId id="2147483737" r:id="rId17"/>
    <p:sldLayoutId id="2147483702" r:id="rId18"/>
    <p:sldLayoutId id="2147483740" r:id="rId19"/>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hyperlink" Target="https://sdgs.un.org/goals/goal11"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entrecompeurope.eu/wp-content/uploads/EntreComp-A-Practical-Guide-English.pdf" TargetMode="Externa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26.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hyperlink" Target="https://www.agilealliance.org/agile101/" TargetMode="External"/><Relationship Id="rId2" Type="http://schemas.openxmlformats.org/officeDocument/2006/relationships/hyperlink" Target="https://www.scrum.org/resources/what-scrum-module" TargetMode="External"/><Relationship Id="rId1" Type="http://schemas.openxmlformats.org/officeDocument/2006/relationships/slideLayout" Target="../slideLayouts/slideLayout8.xml"/><Relationship Id="rId6" Type="http://schemas.openxmlformats.org/officeDocument/2006/relationships/image" Target="../media/image27.jpg"/><Relationship Id="rId5" Type="http://schemas.openxmlformats.org/officeDocument/2006/relationships/hyperlink" Target="https://www.agilealliance.org/glossary/kanban/" TargetMode="External"/><Relationship Id="rId4" Type="http://schemas.openxmlformats.org/officeDocument/2006/relationships/hyperlink" Target="https://www.atlassian.com/blog/jira-align/agile-strategic-planning" TargetMode="Externa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28.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3.xml"/><Relationship Id="rId4" Type="http://schemas.openxmlformats.org/officeDocument/2006/relationships/image" Target="../media/image32.jpeg"/></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hyperlink" Target="https://businessmodelanalyst.com/downloads/empathy-map-template/" TargetMode="External"/><Relationship Id="rId5" Type="http://schemas.openxmlformats.org/officeDocument/2006/relationships/image" Target="../media/image35.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0.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entrecompeurope.eu/wp-content/uploads/EntreComp-A-Practical-Guide-English.pdf" TargetMode="Externa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9.xml"/><Relationship Id="rId1" Type="http://schemas.openxmlformats.org/officeDocument/2006/relationships/tags" Target="../tags/tag13.xml"/><Relationship Id="rId5" Type="http://schemas.openxmlformats.org/officeDocument/2006/relationships/image" Target="../media/image40.jpe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hyperlink" Target="https://communities.sunlightfoundation.com/action/codesign/" TargetMode="External"/><Relationship Id="rId2" Type="http://schemas.openxmlformats.org/officeDocument/2006/relationships/hyperlink" Target="https://servicedesigntools.org/tools/empathy-map" TargetMode="External"/><Relationship Id="rId1" Type="http://schemas.openxmlformats.org/officeDocument/2006/relationships/slideLayout" Target="../slideLayouts/slideLayout8.xml"/><Relationship Id="rId5" Type="http://schemas.openxmlformats.org/officeDocument/2006/relationships/image" Target="../media/image27.jpg"/><Relationship Id="rId4" Type="http://schemas.openxmlformats.org/officeDocument/2006/relationships/hyperlink" Target="https://www.qed42.com/insights/prototyping-in-design-thinking" TargetMode="Externa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41.jpe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entrecompeurope.eu/wp-content/uploads/EntreComp-A-Practical-Guide-English.pdf" TargetMode="Externa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tags" Target="../tags/tag16.xml"/><Relationship Id="rId5" Type="http://schemas.openxmlformats.org/officeDocument/2006/relationships/image" Target="../media/image48.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hyperlink" Target="https://smowl.net/en/blog/technology-for-sustainability/" TargetMode="External"/><Relationship Id="rId2" Type="http://schemas.openxmlformats.org/officeDocument/2006/relationships/hyperlink" Target="https://instituteofsustainabilitystudies.com/insights/lexicon/green-technologies-innovations-opportunities-challenges/" TargetMode="External"/><Relationship Id="rId1" Type="http://schemas.openxmlformats.org/officeDocument/2006/relationships/slideLayout" Target="../slideLayouts/slideLayout8.xml"/><Relationship Id="rId4" Type="http://schemas.openxmlformats.org/officeDocument/2006/relationships/image" Target="../media/image27.jp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49.jpe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31.jpeg"/><Relationship Id="rId1" Type="http://schemas.openxmlformats.org/officeDocument/2006/relationships/slideLayout" Target="../slideLayouts/slideLayout13.xml"/><Relationship Id="rId4" Type="http://schemas.openxmlformats.org/officeDocument/2006/relationships/image" Target="../media/image51.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52.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ocw.tudelft.nl/course-lectures/6-2-smart-grids-explained/" TargetMode="Externa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51.xml.rels><?xml version="1.0" encoding="UTF-8" standalone="yes"?>
<Relationships xmlns="http://schemas.openxmlformats.org/package/2006/relationships"><Relationship Id="rId3" Type="http://schemas.openxmlformats.org/officeDocument/2006/relationships/hyperlink" Target="https://sdgs.un.org/goals/goal11"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5" Type="http://schemas.openxmlformats.org/officeDocument/2006/relationships/image" Target="../media/image25.png"/><Relationship Id="rId4" Type="http://schemas.openxmlformats.org/officeDocument/2006/relationships/image" Target="../media/image24.png"/></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54.jpeg"/><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55.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8.xml"/><Relationship Id="rId1" Type="http://schemas.openxmlformats.org/officeDocument/2006/relationships/tags" Target="../tags/tag22.xml"/><Relationship Id="rId5" Type="http://schemas.openxmlformats.org/officeDocument/2006/relationships/image" Target="../media/image56.jpe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56.jpe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xml"/><Relationship Id="rId1" Type="http://schemas.openxmlformats.org/officeDocument/2006/relationships/tags" Target="../tags/tag24.xml"/><Relationship Id="rId5" Type="http://schemas.openxmlformats.org/officeDocument/2006/relationships/image" Target="../media/image57.jpe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hyperlink" Target="https://mygug.eu/" TargetMode="External"/><Relationship Id="rId5" Type="http://schemas.openxmlformats.org/officeDocument/2006/relationships/image" Target="../media/image58.jpe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https://sauletech.com/" TargetMode="External"/><Relationship Id="rId5" Type="http://schemas.openxmlformats.org/officeDocument/2006/relationships/image" Target="../media/image60.jpe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sauletech.com/" TargetMode="External"/><Relationship Id="rId1" Type="http://schemas.openxmlformats.org/officeDocument/2006/relationships/slideLayout" Target="../slideLayouts/slideLayout8.xml"/><Relationship Id="rId4" Type="http://schemas.openxmlformats.org/officeDocument/2006/relationships/image" Target="../media/image62.jpe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hyperlink" Target="https://sdgs.un.org/goals/goal13" TargetMode="External"/><Relationship Id="rId2" Type="http://schemas.openxmlformats.org/officeDocument/2006/relationships/hyperlink" Target="https://sdgs.un.org/goals/goal7" TargetMode="Externa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entrecompeurope.eu/wp-content/uploads/EntreComp-A-Practical-Guide-English.pdf" TargetMode="External"/></Relationships>
</file>

<file path=ppt/slides/_rels/slide6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15.jpe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hyperlink" Target="https://www.sciencedirect.com/science/article/pii/S1876610214017743" TargetMode="External"/><Relationship Id="rId2" Type="http://schemas.openxmlformats.org/officeDocument/2006/relationships/image" Target="../media/image27.jpg"/><Relationship Id="rId1" Type="http://schemas.openxmlformats.org/officeDocument/2006/relationships/slideLayout" Target="../slideLayouts/slideLayout4.xml"/><Relationship Id="rId5" Type="http://schemas.openxmlformats.org/officeDocument/2006/relationships/hyperlink" Target="https://instituteofsustainabilitystudies.com/insights/lexicon/green-technologies-innovations-opportunities-challenges/" TargetMode="External"/><Relationship Id="rId4" Type="http://schemas.openxmlformats.org/officeDocument/2006/relationships/hyperlink" Target="https://impact.economist.com/sustainability/net-zero-and-energy/capitalising-on-clean-tech-supporting-a-just-energy-transition" TargetMode="External"/></Relationships>
</file>

<file path=ppt/slides/_rels/slide7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69.jpeg"/><Relationship Id="rId1" Type="http://schemas.openxmlformats.org/officeDocument/2006/relationships/slideLayout" Target="../slideLayouts/slideLayout13.xml"/><Relationship Id="rId4" Type="http://schemas.openxmlformats.org/officeDocument/2006/relationships/image" Target="../media/image76.png"/></Relationships>
</file>

<file path=ppt/slides/_rels/slide7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hyperlink" Target="https://www.blablacar.co.uk/" TargetMode="External"/><Relationship Id="rId2" Type="http://schemas.openxmlformats.org/officeDocument/2006/relationships/hyperlink" Target="https://www.streetscooter.com/en/" TargetMode="External"/><Relationship Id="rId1" Type="http://schemas.openxmlformats.org/officeDocument/2006/relationships/slideLayout" Target="../slideLayouts/slideLayout14.xml"/><Relationship Id="rId5" Type="http://schemas.openxmlformats.org/officeDocument/2006/relationships/image" Target="../media/image68.jpeg"/><Relationship Id="rId4" Type="http://schemas.openxmlformats.org/officeDocument/2006/relationships/image" Target="../media/image79.jpeg"/></Relationships>
</file>

<file path=ppt/slides/_rels/slide78.xml.rels><?xml version="1.0" encoding="UTF-8" standalone="yes"?>
<Relationships xmlns="http://schemas.openxmlformats.org/package/2006/relationships"><Relationship Id="rId3" Type="http://schemas.openxmlformats.org/officeDocument/2006/relationships/hyperlink" Target="https://lytefire.com/en" TargetMode="External"/><Relationship Id="rId2" Type="http://schemas.openxmlformats.org/officeDocument/2006/relationships/hyperlink" Target="https://waka-waka.com/en/" TargetMode="External"/><Relationship Id="rId1" Type="http://schemas.openxmlformats.org/officeDocument/2006/relationships/slideLayout" Target="../slideLayouts/slideLayout14.xml"/><Relationship Id="rId5" Type="http://schemas.openxmlformats.org/officeDocument/2006/relationships/image" Target="../media/image81.jpeg"/><Relationship Id="rId4" Type="http://schemas.openxmlformats.org/officeDocument/2006/relationships/image" Target="../media/image80.jpeg"/></Relationships>
</file>

<file path=ppt/slides/_rels/slide79.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7" TargetMode="External"/><Relationship Id="rId1" Type="http://schemas.openxmlformats.org/officeDocument/2006/relationships/slideLayout" Target="../slideLayouts/slideLayout16.xml"/><Relationship Id="rId6" Type="http://schemas.openxmlformats.org/officeDocument/2006/relationships/image" Target="../media/image24.png"/><Relationship Id="rId5" Type="http://schemas.openxmlformats.org/officeDocument/2006/relationships/hyperlink" Target="https://sdgs.un.org/goals/goal12" TargetMode="External"/><Relationship Id="rId4" Type="http://schemas.openxmlformats.org/officeDocument/2006/relationships/hyperlink" Target="https://sdgs.un.org/goals/goal11"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www.entrecompeurope.eu/wp-content/uploads/EntreComp-A-Practical-Guide-English.pdf"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frugalinnovation.how/" TargetMode="External"/><Relationship Id="rId2" Type="http://schemas.openxmlformats.org/officeDocument/2006/relationships/slideLayout" Target="../slideLayouts/slideLayout17.xml"/><Relationship Id="rId1" Type="http://schemas.openxmlformats.org/officeDocument/2006/relationships/video" Target="https://www.youtube.com/embed/LVf8W2BrjR0?feature=oembed" TargetMode="External"/><Relationship Id="rId5" Type="http://schemas.openxmlformats.org/officeDocument/2006/relationships/image" Target="../media/image84.jpeg"/><Relationship Id="rId4" Type="http://schemas.openxmlformats.org/officeDocument/2006/relationships/hyperlink" Target="https://www.youtube.com/watch?v=LVf8W2BrjR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86.svg"/></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07D2C75-AD84-CAAC-B76F-30648F40F21D}"/>
              </a:ext>
            </a:extLst>
          </p:cNvPr>
          <p:cNvGraphicFramePr>
            <a:graphicFrameLocks noChangeAspect="1"/>
          </p:cNvGraphicFramePr>
          <p:nvPr>
            <p:custDataLst>
              <p:tags r:id="rId1"/>
            </p:custDataLst>
            <p:extLst>
              <p:ext uri="{D42A27DB-BD31-4B8C-83A1-F6EECF244321}">
                <p14:modId xmlns:p14="http://schemas.microsoft.com/office/powerpoint/2010/main" val="112162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6">
            <a:extLst>
              <a:ext uri="{FF2B5EF4-FFF2-40B4-BE49-F238E27FC236}">
                <a16:creationId xmlns:a16="http://schemas.microsoft.com/office/drawing/2014/main" id="{9A3BC323-387F-05A7-08F8-54D0DB60D2B3}"/>
              </a:ext>
            </a:extLst>
          </p:cNvPr>
          <p:cNvPicPr>
            <a:picLocks noGrp="1" noChangeAspect="1"/>
          </p:cNvPicPr>
          <p:nvPr>
            <p:ph type="pic" sz="quarter" idx="44"/>
          </p:nvPr>
        </p:nvPicPr>
        <p:blipFill rotWithShape="1">
          <a:blip r:embed="rId6" cstate="email">
            <a:extLst>
              <a:ext uri="{28A0092B-C50C-407E-A947-70E740481C1C}">
                <a14:useLocalDpi xmlns:a14="http://schemas.microsoft.com/office/drawing/2010/main"/>
              </a:ext>
            </a:extLst>
          </a:blip>
          <a:srcRect l="23750" r="23750"/>
          <a:stretch/>
        </p:blipFill>
        <p:spPr>
          <a:xfrm>
            <a:off x="5718175" y="14288"/>
            <a:ext cx="5534025" cy="6880225"/>
          </a:xfrm>
        </p:spPr>
      </p:pic>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96956" y="4294045"/>
            <a:ext cx="4532141" cy="1258512"/>
          </a:xfrm>
        </p:spPr>
        <p:txBody>
          <a:bodyPr>
            <a:normAutofit fontScale="77500" lnSpcReduction="20000"/>
          </a:bodyPr>
          <a:lstStyle/>
          <a:p>
            <a:pPr>
              <a:lnSpc>
                <a:spcPts val="3054"/>
              </a:lnSpc>
            </a:pPr>
            <a:r>
              <a:rPr lang="en-US" sz="3600" b="0" dirty="0"/>
              <a:t>Innovation und Technologie für nachhaltige Lösungen</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sz="3600" b="1"/>
              <a:t>Modul 2</a:t>
            </a:r>
            <a:endParaRPr lang="en-US" sz="3600"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12CBA52-9586-E192-0B65-E51B3A647D25}"/>
              </a:ext>
            </a:extLst>
          </p:cNvPr>
          <p:cNvSpPr txBox="1"/>
          <p:nvPr/>
        </p:nvSpPr>
        <p:spPr>
          <a:xfrm>
            <a:off x="252700" y="6593557"/>
            <a:ext cx="40005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E06FAFE9-48A0-8B5B-199E-5701E7059D41}"/>
              </a:ext>
            </a:extLst>
          </p:cNvPr>
          <p:cNvSpPr txBox="1"/>
          <p:nvPr/>
        </p:nvSpPr>
        <p:spPr>
          <a:xfrm>
            <a:off x="2617580" y="5973501"/>
            <a:ext cx="294210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2015577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F5C235-E5FE-1E4C-5D61-33E00AEBABD5}"/>
              </a:ext>
            </a:extLst>
          </p:cNvPr>
          <p:cNvSpPr>
            <a:spLocks noGrp="1"/>
          </p:cNvSpPr>
          <p:nvPr>
            <p:ph type="body" sz="quarter" idx="49"/>
          </p:nvPr>
        </p:nvSpPr>
        <p:spPr/>
        <p:txBody>
          <a:bodyPr/>
          <a:lstStyle/>
          <a:p>
            <a:r>
              <a:rPr lang="en-GB" sz="3200" dirty="0"/>
              <a:t>Kontinuierliche Verbesserung</a:t>
            </a:r>
            <a:endParaRPr lang="en-IE" sz="3200" dirty="0"/>
          </a:p>
        </p:txBody>
      </p:sp>
      <p:sp>
        <p:nvSpPr>
          <p:cNvPr id="3" name="Text Placeholder 2">
            <a:extLst>
              <a:ext uri="{FF2B5EF4-FFF2-40B4-BE49-F238E27FC236}">
                <a16:creationId xmlns:a16="http://schemas.microsoft.com/office/drawing/2014/main" id="{8FEBB843-3485-0F68-BD01-E09BAEA252FA}"/>
              </a:ext>
            </a:extLst>
          </p:cNvPr>
          <p:cNvSpPr>
            <a:spLocks noGrp="1"/>
          </p:cNvSpPr>
          <p:nvPr>
            <p:ph type="body" sz="quarter" idx="50"/>
          </p:nvPr>
        </p:nvSpPr>
        <p:spPr/>
        <p:txBody>
          <a:bodyPr/>
          <a:lstStyle/>
          <a:p>
            <a:pPr algn="just"/>
            <a:r>
              <a:rPr lang="en-GB" sz="2000" dirty="0"/>
              <a:t>Agiles Vorgehen fördert eine Kultur des kontinuierlichen Lernens und der Anpassung. Durch regelmäßige Retrospektiven reflektieren die Teams ihre Prozesse, identifizieren Verbesserungsmöglichkeiten und implementieren Änderungen schrittweise, um die Effizienz und Effektivität zu steigern.</a:t>
            </a:r>
            <a:endParaRPr lang="en-IE" sz="2000" dirty="0"/>
          </a:p>
        </p:txBody>
      </p:sp>
      <p:sp>
        <p:nvSpPr>
          <p:cNvPr id="4" name="Text Placeholder 3">
            <a:extLst>
              <a:ext uri="{FF2B5EF4-FFF2-40B4-BE49-F238E27FC236}">
                <a16:creationId xmlns:a16="http://schemas.microsoft.com/office/drawing/2014/main" id="{B242744D-9A37-6648-2D79-AAD3947652AE}"/>
              </a:ext>
            </a:extLst>
          </p:cNvPr>
          <p:cNvSpPr>
            <a:spLocks noGrp="1"/>
          </p:cNvSpPr>
          <p:nvPr>
            <p:ph type="body" sz="quarter" idx="51"/>
          </p:nvPr>
        </p:nvSpPr>
        <p:spPr/>
        <p:txBody>
          <a:bodyPr/>
          <a:lstStyle/>
          <a:p>
            <a:r>
              <a:rPr lang="en-GB" sz="3200" b="1" dirty="0"/>
              <a:t>Häufige Zusammenarbeit mit Kunden</a:t>
            </a:r>
            <a:endParaRPr lang="en-IE" sz="3200" dirty="0"/>
          </a:p>
        </p:txBody>
      </p:sp>
      <p:sp>
        <p:nvSpPr>
          <p:cNvPr id="5" name="Text Placeholder 4">
            <a:extLst>
              <a:ext uri="{FF2B5EF4-FFF2-40B4-BE49-F238E27FC236}">
                <a16:creationId xmlns:a16="http://schemas.microsoft.com/office/drawing/2014/main" id="{A3A047E1-FC0A-8317-C35A-8D54D371071A}"/>
              </a:ext>
            </a:extLst>
          </p:cNvPr>
          <p:cNvSpPr>
            <a:spLocks noGrp="1"/>
          </p:cNvSpPr>
          <p:nvPr>
            <p:ph type="body" sz="quarter" idx="52"/>
          </p:nvPr>
        </p:nvSpPr>
        <p:spPr/>
        <p:txBody>
          <a:bodyPr/>
          <a:lstStyle/>
          <a:p>
            <a:pPr algn="just"/>
            <a:r>
              <a:rPr lang="en-GB" sz="2000" dirty="0"/>
              <a:t>Die Kunden oder Stakeholder werden während des gesamten Entwicklungsprozesses aktiv einbezogen, indem sie Feedback geben, Annahmen überprüfen und Prioritäten für Funktionen festlegen. Durch diese Zusammenarbeit wird sichergestellt, dass das Produkt die Bedürfnisse der Benutzer erfüllt und mit den Unternehmenszielen übereinstimmt.</a:t>
            </a:r>
            <a:endParaRPr lang="en-IE" sz="2000" dirty="0"/>
          </a:p>
        </p:txBody>
      </p:sp>
      <p:pic>
        <p:nvPicPr>
          <p:cNvPr id="6" name="Picture Placeholder 8">
            <a:extLst>
              <a:ext uri="{FF2B5EF4-FFF2-40B4-BE49-F238E27FC236}">
                <a16:creationId xmlns:a16="http://schemas.microsoft.com/office/drawing/2014/main" id="{AFC7C44A-3409-9431-04DF-A6B4B69E8A23}"/>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t="20866" b="20866"/>
          <a:stretch>
            <a:fillRect/>
          </a:stretch>
        </p:blipFill>
        <p:spPr>
          <a:xfrm>
            <a:off x="1436688" y="984250"/>
            <a:ext cx="1839912" cy="1608138"/>
          </a:xfrm>
        </p:spPr>
      </p:pic>
      <p:pic>
        <p:nvPicPr>
          <p:cNvPr id="8" name="Picture Placeholder 10">
            <a:extLst>
              <a:ext uri="{FF2B5EF4-FFF2-40B4-BE49-F238E27FC236}">
                <a16:creationId xmlns:a16="http://schemas.microsoft.com/office/drawing/2014/main" id="{1A25C6F1-6324-8BFF-41C6-170CC11C9321}"/>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57" r="11857"/>
          <a:stretch>
            <a:fillRect/>
          </a:stretch>
        </p:blipFill>
        <p:spPr>
          <a:xfrm>
            <a:off x="1436688" y="3657600"/>
            <a:ext cx="1839912" cy="1608138"/>
          </a:xfrm>
        </p:spPr>
      </p:pic>
    </p:spTree>
    <p:extLst>
      <p:ext uri="{BB962C8B-B14F-4D97-AF65-F5344CB8AC3E}">
        <p14:creationId xmlns:p14="http://schemas.microsoft.com/office/powerpoint/2010/main" val="1018522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73AF512-43FB-61AB-BBD7-12530676EC61}"/>
              </a:ext>
            </a:extLst>
          </p:cNvPr>
          <p:cNvGraphicFramePr>
            <a:graphicFrameLocks noChangeAspect="1"/>
          </p:cNvGraphicFramePr>
          <p:nvPr>
            <p:custDataLst>
              <p:tags r:id="rId1"/>
            </p:custDataLst>
            <p:extLst>
              <p:ext uri="{D42A27DB-BD31-4B8C-83A1-F6EECF244321}">
                <p14:modId xmlns:p14="http://schemas.microsoft.com/office/powerpoint/2010/main" val="337141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a:extLst>
              <a:ext uri="{FF2B5EF4-FFF2-40B4-BE49-F238E27FC236}">
                <a16:creationId xmlns:a16="http://schemas.microsoft.com/office/drawing/2014/main" id="{7E1DA26D-D9FE-CD98-DDF1-B325E7B6DB1F}"/>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t="4228" b="4228"/>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1</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268448"/>
            <a:ext cx="6988016" cy="1313217"/>
          </a:xfrm>
        </p:spPr>
        <p:txBody>
          <a:bodyPr/>
          <a:lstStyle/>
          <a:p>
            <a:r>
              <a:rPr lang="en-GB" dirty="0"/>
              <a:t>GRUNDLAGEN DER AGILEN METHODIK</a:t>
            </a:r>
            <a:endParaRPr lang="en-US"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58974" y="1762449"/>
            <a:ext cx="5256968" cy="4271810"/>
          </a:xfrm>
        </p:spPr>
        <p:txBody>
          <a:bodyPr/>
          <a:lstStyle/>
          <a:p>
            <a:pPr algn="just"/>
            <a:r>
              <a:rPr lang="en-GB" sz="2000" dirty="0"/>
              <a:t>Agile Methoden haben </a:t>
            </a:r>
            <a:r>
              <a:rPr lang="en-GB" sz="2000" b="1" dirty="0"/>
              <a:t>das Projektmanagement revolutioniert</a:t>
            </a:r>
            <a:r>
              <a:rPr lang="en-GB" sz="2000" dirty="0"/>
              <a:t>, indem sie Flexibilität, Zusammenarbeit und Kundenzufriedenheit in den Vordergrund stellen. </a:t>
            </a:r>
          </a:p>
          <a:p>
            <a:pPr algn="just"/>
            <a:endParaRPr lang="en-GB" sz="2000" dirty="0"/>
          </a:p>
          <a:p>
            <a:pPr algn="just"/>
            <a:r>
              <a:rPr lang="en-GB" sz="2000" dirty="0"/>
              <a:t>Diese Methoden umfassen mehrere Frameworks, die es den Teams ermöglichen, iterativ Werte zu liefern und sich effizient an veränderte Anforderungen anzupassen. </a:t>
            </a:r>
          </a:p>
          <a:p>
            <a:pPr algn="just"/>
            <a:endParaRPr lang="en-GB" sz="2000" dirty="0"/>
          </a:p>
          <a:p>
            <a:pPr algn="just"/>
            <a:r>
              <a:rPr lang="en-GB" sz="2000" dirty="0"/>
              <a:t>Auf den nächsten Folien werden die wichtigsten Frameworks vorgestellt, die Organisationen üblicherweise einsetzen, um agile Prinzipien effektiv zu implementieren:</a:t>
            </a:r>
            <a:endParaRPr lang="en-US" sz="2000" dirty="0"/>
          </a:p>
        </p:txBody>
      </p:sp>
    </p:spTree>
    <p:extLst>
      <p:ext uri="{BB962C8B-B14F-4D97-AF65-F5344CB8AC3E}">
        <p14:creationId xmlns:p14="http://schemas.microsoft.com/office/powerpoint/2010/main" val="2068568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DD33D8-2548-2E47-C637-0682579EECAC}"/>
              </a:ext>
            </a:extLst>
          </p:cNvPr>
          <p:cNvSpPr>
            <a:spLocks noGrp="1"/>
          </p:cNvSpPr>
          <p:nvPr>
            <p:ph type="body" sz="quarter" idx="30"/>
          </p:nvPr>
        </p:nvSpPr>
        <p:spPr>
          <a:xfrm>
            <a:off x="4991449" y="300325"/>
            <a:ext cx="4951851" cy="845139"/>
          </a:xfrm>
        </p:spPr>
        <p:txBody>
          <a:bodyPr/>
          <a:lstStyle/>
          <a:p>
            <a:r>
              <a:rPr lang="en-US" dirty="0">
                <a:solidFill>
                  <a:srgbClr val="F36C2F"/>
                </a:solidFill>
              </a:rPr>
              <a:t>SCRUM-FRAMEWORK</a:t>
            </a:r>
          </a:p>
        </p:txBody>
      </p:sp>
      <p:sp>
        <p:nvSpPr>
          <p:cNvPr id="4" name="Text Placeholder 3">
            <a:extLst>
              <a:ext uri="{FF2B5EF4-FFF2-40B4-BE49-F238E27FC236}">
                <a16:creationId xmlns:a16="http://schemas.microsoft.com/office/drawing/2014/main" id="{5D1E1044-00D3-7699-DDE4-02341AE5AE9F}"/>
              </a:ext>
            </a:extLst>
          </p:cNvPr>
          <p:cNvSpPr>
            <a:spLocks noGrp="1"/>
          </p:cNvSpPr>
          <p:nvPr>
            <p:ph type="body" sz="quarter" idx="48"/>
          </p:nvPr>
        </p:nvSpPr>
        <p:spPr>
          <a:xfrm>
            <a:off x="4991449" y="939065"/>
            <a:ext cx="7132818" cy="5791936"/>
          </a:xfrm>
          <a:solidFill>
            <a:schemeClr val="bg1"/>
          </a:solidFill>
        </p:spPr>
        <p:txBody>
          <a:bodyPr/>
          <a:lstStyle/>
          <a:p>
            <a:r>
              <a:rPr lang="en-GB" sz="2000" dirty="0"/>
              <a:t>Scrum ist ein strukturierter Rahmen, der die Arbeit in zeitlich begrenzte Iterationen, so genannte Sprints, unterteilt, die in der Regel zwei bis vier Wochen dauern.</a:t>
            </a:r>
          </a:p>
          <a:p>
            <a:endParaRPr lang="en-GB" sz="900" dirty="0"/>
          </a:p>
          <a:p>
            <a:r>
              <a:rPr lang="en-GB" sz="2000" b="1" dirty="0"/>
              <a:t>Sprints: </a:t>
            </a:r>
            <a:r>
              <a:rPr lang="en-GB" sz="2000" dirty="0"/>
              <a:t>Zeitlich begrenzte Iterationen, die ein konzentriertes Arbeiten und eine regelmäßige Überprüfung ermöglichen.</a:t>
            </a:r>
            <a:br>
              <a:rPr lang="en-GB" sz="2000" dirty="0"/>
            </a:br>
            <a:r>
              <a:rPr lang="en-GB" sz="2000" b="1" dirty="0"/>
              <a:t>Sprint-Planung: </a:t>
            </a:r>
            <a:r>
              <a:rPr lang="en-GB" sz="2000" dirty="0"/>
              <a:t>Festlegung von Zielen und Planung von Aufgaben für den kommenden Sprint.</a:t>
            </a:r>
            <a:br>
              <a:rPr lang="en-GB" sz="2000" dirty="0"/>
            </a:br>
            <a:r>
              <a:rPr lang="en-GB" sz="2000" b="1" dirty="0"/>
              <a:t>Tägliche Stand-Ups: </a:t>
            </a:r>
            <a:r>
              <a:rPr lang="en-GB" sz="2000" dirty="0"/>
              <a:t>Kurze, tägliche Treffen, um den Fortschritt zu besprechen, Blockaden zu identifizieren und Pläne anzupassen.</a:t>
            </a:r>
            <a:br>
              <a:rPr lang="en-GB" sz="2000" dirty="0"/>
            </a:br>
            <a:r>
              <a:rPr lang="en-GB" sz="2000" b="1" dirty="0"/>
              <a:t>Sprint-Überprüfung: </a:t>
            </a:r>
            <a:r>
              <a:rPr lang="en-GB" sz="2000" dirty="0"/>
              <a:t>Am Ende eines jeden Sprints überprüfen die Teams die geleistete Arbeit und sammeln Feedback.</a:t>
            </a:r>
            <a:br>
              <a:rPr lang="en-GB" sz="2000" dirty="0"/>
            </a:br>
            <a:r>
              <a:rPr lang="en-GB" sz="2000" b="1" dirty="0"/>
              <a:t>Sprint-Retrospektive: </a:t>
            </a:r>
            <a:r>
              <a:rPr lang="en-GB" sz="2000" dirty="0"/>
              <a:t>Die Teams reflektieren den Sprint, um Verbesserungen für die nächste Iteration zu ermitteln.</a:t>
            </a:r>
          </a:p>
          <a:p>
            <a:endParaRPr lang="en-GB" sz="900" dirty="0"/>
          </a:p>
          <a:p>
            <a:r>
              <a:rPr lang="en-GB" sz="2000" dirty="0"/>
              <a:t>Die Betonung von Scrum auf regelmäßiger Überprüfung und Anpassung sorgt dafür, dass Teams schnell auf Veränderungen reagieren und ihre Prozesse und Ergebnisse kontinuierlich verbessern können.</a:t>
            </a:r>
            <a:endParaRPr lang="en-US" sz="2000" dirty="0"/>
          </a:p>
          <a:p>
            <a:endParaRPr lang="en-IE" sz="2000" dirty="0"/>
          </a:p>
        </p:txBody>
      </p:sp>
      <p:pic>
        <p:nvPicPr>
          <p:cNvPr id="2" name="Picture Placeholder 5" descr="Adhesive notes on glass wall">
            <a:extLst>
              <a:ext uri="{FF2B5EF4-FFF2-40B4-BE49-F238E27FC236}">
                <a16:creationId xmlns:a16="http://schemas.microsoft.com/office/drawing/2014/main" id="{6E60668E-FAB1-CF38-51BD-459EB6C90B0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a:xfrm>
            <a:off x="-1166813" y="0"/>
            <a:ext cx="5875338" cy="6858000"/>
          </a:xfrm>
        </p:spPr>
      </p:pic>
    </p:spTree>
    <p:extLst>
      <p:ext uri="{BB962C8B-B14F-4D97-AF65-F5344CB8AC3E}">
        <p14:creationId xmlns:p14="http://schemas.microsoft.com/office/powerpoint/2010/main" val="3739515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DD33D8-2548-2E47-C637-0682579EECAC}"/>
              </a:ext>
            </a:extLst>
          </p:cNvPr>
          <p:cNvSpPr>
            <a:spLocks noGrp="1"/>
          </p:cNvSpPr>
          <p:nvPr>
            <p:ph type="body" sz="quarter" idx="30"/>
          </p:nvPr>
        </p:nvSpPr>
        <p:spPr>
          <a:xfrm>
            <a:off x="5081786" y="332202"/>
            <a:ext cx="4951851" cy="845139"/>
          </a:xfrm>
        </p:spPr>
        <p:txBody>
          <a:bodyPr/>
          <a:lstStyle/>
          <a:p>
            <a:r>
              <a:rPr lang="en-US" dirty="0">
                <a:solidFill>
                  <a:srgbClr val="F36C2F"/>
                </a:solidFill>
              </a:rPr>
              <a:t>KANBAN-FRAMEWORK</a:t>
            </a:r>
          </a:p>
        </p:txBody>
      </p:sp>
      <p:sp>
        <p:nvSpPr>
          <p:cNvPr id="4" name="Text Placeholder 3">
            <a:extLst>
              <a:ext uri="{FF2B5EF4-FFF2-40B4-BE49-F238E27FC236}">
                <a16:creationId xmlns:a16="http://schemas.microsoft.com/office/drawing/2014/main" id="{5D1E1044-00D3-7699-DDE4-02341AE5AE9F}"/>
              </a:ext>
            </a:extLst>
          </p:cNvPr>
          <p:cNvSpPr>
            <a:spLocks noGrp="1"/>
          </p:cNvSpPr>
          <p:nvPr>
            <p:ph type="body" sz="quarter" idx="48"/>
          </p:nvPr>
        </p:nvSpPr>
        <p:spPr>
          <a:xfrm>
            <a:off x="5183387" y="1056736"/>
            <a:ext cx="6627614" cy="5547264"/>
          </a:xfrm>
          <a:solidFill>
            <a:schemeClr val="bg1"/>
          </a:solidFill>
        </p:spPr>
        <p:txBody>
          <a:bodyPr/>
          <a:lstStyle/>
          <a:p>
            <a:pPr algn="just"/>
            <a:r>
              <a:rPr lang="en-GB" sz="2000" dirty="0"/>
              <a:t>Kanban ist eine visuelle Methode zur Verwaltung von Arbeitsabläufen, die sich auf die kontinuierliche Lieferung konzentriert, ohne die Teammitglieder zu überlasten.</a:t>
            </a:r>
          </a:p>
          <a:p>
            <a:pPr algn="just"/>
            <a:endParaRPr lang="en-GB" sz="900" dirty="0"/>
          </a:p>
          <a:p>
            <a:pPr algn="just"/>
            <a:r>
              <a:rPr lang="en-GB" sz="2000" b="1" dirty="0"/>
              <a:t>Visualisierung des Arbeitsablaufs: </a:t>
            </a:r>
            <a:r>
              <a:rPr lang="en-GB" sz="2000" dirty="0"/>
              <a:t>Verwendung von Kanban-Tafeln zur Darstellung von Aufgaben und deren Stadien (z. B. Zu erledigen, In Arbeit, Erledigt).</a:t>
            </a:r>
          </a:p>
          <a:p>
            <a:pPr algn="just"/>
            <a:endParaRPr lang="en-GB" sz="900" dirty="0"/>
          </a:p>
          <a:p>
            <a:pPr algn="just"/>
            <a:r>
              <a:rPr lang="en-GB" sz="2000" b="1" dirty="0"/>
              <a:t>Begrenzung der in Arbeit befindlichen Aufgaben (WIP): </a:t>
            </a:r>
            <a:r>
              <a:rPr lang="en-GB" sz="2000" dirty="0"/>
              <a:t>Begrenzung der Anzahl der in Arbeit befindlichen Aufgaben zur Verbesserung der Konzentration und Effizienz.</a:t>
            </a:r>
          </a:p>
          <a:p>
            <a:pPr algn="just"/>
            <a:endParaRPr lang="en-GB" sz="900" dirty="0"/>
          </a:p>
          <a:p>
            <a:pPr algn="just"/>
            <a:r>
              <a:rPr lang="en-GB" sz="2000" b="1" dirty="0"/>
              <a:t>Kontinuierliche Lieferung</a:t>
            </a:r>
            <a:r>
              <a:rPr lang="en-GB" sz="2000" dirty="0"/>
              <a:t>: Regelmäßige Bereitstellung kleiner, überschaubarer Arbeitsschritte, um einen stetigen Fortschritt zu gewährleisten.</a:t>
            </a:r>
          </a:p>
          <a:p>
            <a:pPr algn="just"/>
            <a:endParaRPr lang="en-GB" sz="900" dirty="0"/>
          </a:p>
          <a:p>
            <a:pPr algn="just"/>
            <a:r>
              <a:rPr lang="en-GB" sz="2000" dirty="0"/>
              <a:t>Kanban-Tafeln bieten eine klare visuelle Darstellung des Arbeitsablaufs und helfen den Teams, Aufgaben effektiver zu verwalten und ihre Bemühungen auf der Grundlage der aktuellen Bedürfnisse und Kapazitäten zu konzentrieren.</a:t>
            </a:r>
            <a:endParaRPr lang="en-US" sz="2000" dirty="0"/>
          </a:p>
        </p:txBody>
      </p:sp>
      <p:pic>
        <p:nvPicPr>
          <p:cNvPr id="2" name="Picture Placeholder 5" descr="Two colleagues planning on board with sticky notes">
            <a:extLst>
              <a:ext uri="{FF2B5EF4-FFF2-40B4-BE49-F238E27FC236}">
                <a16:creationId xmlns:a16="http://schemas.microsoft.com/office/drawing/2014/main" id="{B74ED60C-8656-76EB-CEBB-82A836D2B536}"/>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l="21429" r="21429"/>
          <a:stretch/>
        </p:blipFill>
        <p:spPr>
          <a:xfrm>
            <a:off x="-1166813" y="0"/>
            <a:ext cx="5875338" cy="6858000"/>
          </a:xfrm>
        </p:spPr>
      </p:pic>
    </p:spTree>
    <p:extLst>
      <p:ext uri="{BB962C8B-B14F-4D97-AF65-F5344CB8AC3E}">
        <p14:creationId xmlns:p14="http://schemas.microsoft.com/office/powerpoint/2010/main" val="3575086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p:txBody>
          <a:bodyPr/>
          <a:lstStyle/>
          <a:p>
            <a:r>
              <a:rPr lang="en-US" dirty="0"/>
              <a:t>AGILE ANSÄTZE</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p:txBody>
          <a:bodyPr/>
          <a:lstStyle/>
          <a:p>
            <a:pPr algn="just"/>
            <a:r>
              <a:rPr lang="en-GB" sz="2000" b="1" dirty="0"/>
              <a:t>Kontinuierliche Verbesserung: </a:t>
            </a:r>
            <a:r>
              <a:rPr lang="en-GB" sz="2000" dirty="0"/>
              <a:t>Nachhaltige Projekte müssen ständig angepasst werden, um ihre Wirkung zu maximieren. Agile Methoden legen den Schwerpunkt auf kontinuierliche Verbesserung durch Zyklen der Planung, Ausführung und Überprüfung. </a:t>
            </a:r>
          </a:p>
          <a:p>
            <a:pPr algn="just"/>
            <a:endParaRPr lang="en-GB" sz="900" dirty="0"/>
          </a:p>
          <a:p>
            <a:pPr algn="just"/>
            <a:r>
              <a:rPr lang="en-GB" sz="2000" dirty="0"/>
              <a:t>Dieser Ansatz ermöglicht es den Teams, sich an neue Informationen und Bedingungen anzupassen, um sicherzustellen, dass Nachhaltigkeitsinitiativen wirksam und relevant bleiben. </a:t>
            </a:r>
          </a:p>
          <a:p>
            <a:pPr algn="just"/>
            <a:endParaRPr lang="en-GB" sz="2000" b="1" dirty="0"/>
          </a:p>
          <a:p>
            <a:pPr algn="just"/>
            <a:r>
              <a:rPr lang="en-GB" sz="2000" b="1" dirty="0"/>
              <a:t>Zusammenarbeit und Offenheit: </a:t>
            </a:r>
            <a:r>
              <a:rPr lang="en-GB" sz="2000" dirty="0"/>
              <a:t>Dieser Ansatz schafft eine kollektive Verantwortung für Nachhaltigkeitsziele und fördert Innovation und positiven Wandel. </a:t>
            </a:r>
          </a:p>
          <a:p>
            <a:pPr algn="just"/>
            <a:endParaRPr lang="en-GB" sz="900" dirty="0"/>
          </a:p>
          <a:p>
            <a:pPr algn="just"/>
            <a:r>
              <a:rPr lang="en-GB" sz="2000" dirty="0"/>
              <a:t>Transparenz stellt sicher, dass die Interessengruppen informiert und einbezogen werden, was zu einer besseren Entscheidungsfindung und besseren Nachhaltigkeitsergebnissen führt. </a:t>
            </a:r>
          </a:p>
          <a:p>
            <a:pPr algn="just"/>
            <a:endParaRPr lang="en-GB" sz="2000" dirty="0"/>
          </a:p>
        </p:txBody>
      </p:sp>
      <p:grpSp>
        <p:nvGrpSpPr>
          <p:cNvPr id="4" name="Group 3">
            <a:extLst>
              <a:ext uri="{FF2B5EF4-FFF2-40B4-BE49-F238E27FC236}">
                <a16:creationId xmlns:a16="http://schemas.microsoft.com/office/drawing/2014/main" id="{150D0920-C498-EE99-C0EB-CEE58CC31AAF}"/>
              </a:ext>
            </a:extLst>
          </p:cNvPr>
          <p:cNvGrpSpPr/>
          <p:nvPr/>
        </p:nvGrpSpPr>
        <p:grpSpPr>
          <a:xfrm>
            <a:off x="10407935" y="721426"/>
            <a:ext cx="923646" cy="923888"/>
            <a:chOff x="10376768" y="3823816"/>
            <a:chExt cx="923646" cy="923888"/>
          </a:xfrm>
          <a:solidFill>
            <a:srgbClr val="0F486D"/>
          </a:solidFill>
        </p:grpSpPr>
        <p:sp>
          <p:nvSpPr>
            <p:cNvPr id="5" name="Freeform 290">
              <a:extLst>
                <a:ext uri="{FF2B5EF4-FFF2-40B4-BE49-F238E27FC236}">
                  <a16:creationId xmlns:a16="http://schemas.microsoft.com/office/drawing/2014/main" id="{86F49F53-4F5A-2372-6FA7-C5236CE6D0B1}"/>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36C2F"/>
            </a:solidFill>
            <a:ln w="9028" cap="flat">
              <a:noFill/>
              <a:prstDash val="solid"/>
              <a:miter/>
            </a:ln>
          </p:spPr>
          <p:txBody>
            <a:bodyPr rtlCol="0" anchor="ctr"/>
            <a:lstStyle/>
            <a:p>
              <a:endParaRPr lang="en-US"/>
            </a:p>
          </p:txBody>
        </p:sp>
        <p:grpSp>
          <p:nvGrpSpPr>
            <p:cNvPr id="6" name="Graphic 2">
              <a:extLst>
                <a:ext uri="{FF2B5EF4-FFF2-40B4-BE49-F238E27FC236}">
                  <a16:creationId xmlns:a16="http://schemas.microsoft.com/office/drawing/2014/main" id="{4D1E7FF3-8582-52C7-8737-DD89AB78B32C}"/>
                </a:ext>
              </a:extLst>
            </p:cNvPr>
            <p:cNvGrpSpPr/>
            <p:nvPr/>
          </p:nvGrpSpPr>
          <p:grpSpPr>
            <a:xfrm>
              <a:off x="10376768" y="3823816"/>
              <a:ext cx="923646" cy="923888"/>
              <a:chOff x="10376768" y="3823816"/>
              <a:chExt cx="923646" cy="923888"/>
            </a:xfrm>
            <a:grpFill/>
          </p:grpSpPr>
          <p:sp>
            <p:nvSpPr>
              <p:cNvPr id="7" name="Freeform 292">
                <a:extLst>
                  <a:ext uri="{FF2B5EF4-FFF2-40B4-BE49-F238E27FC236}">
                    <a16:creationId xmlns:a16="http://schemas.microsoft.com/office/drawing/2014/main" id="{80A76EC7-0993-6DC9-9076-4BE8C76F581E}"/>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p>
            </p:txBody>
          </p:sp>
          <p:sp>
            <p:nvSpPr>
              <p:cNvPr id="8" name="Freeform 293">
                <a:extLst>
                  <a:ext uri="{FF2B5EF4-FFF2-40B4-BE49-F238E27FC236}">
                    <a16:creationId xmlns:a16="http://schemas.microsoft.com/office/drawing/2014/main" id="{F54889A2-A8EE-75BD-922A-92A1860DDCDE}"/>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4" h="406494">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p>
            </p:txBody>
          </p:sp>
          <p:sp>
            <p:nvSpPr>
              <p:cNvPr id="9" name="Freeform 294">
                <a:extLst>
                  <a:ext uri="{FF2B5EF4-FFF2-40B4-BE49-F238E27FC236}">
                    <a16:creationId xmlns:a16="http://schemas.microsoft.com/office/drawing/2014/main" id="{FED9941B-3092-551B-647C-D47A8FD4FB01}"/>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9681436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742779"/>
            <a:ext cx="10483431" cy="804265"/>
          </a:xfrm>
        </p:spPr>
        <p:txBody>
          <a:bodyPr/>
          <a:lstStyle/>
          <a:p>
            <a:r>
              <a:rPr lang="en-US" dirty="0"/>
              <a:t>VORTEILE FÜR DIE NACHHALTIGE ENTWICKLUNG</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561548"/>
            <a:ext cx="10483429" cy="4439577"/>
          </a:xfrm>
        </p:spPr>
        <p:txBody>
          <a:bodyPr/>
          <a:lstStyle/>
          <a:p>
            <a:pPr algn="just"/>
            <a:r>
              <a:rPr lang="en-GB" sz="2000" b="1" dirty="0"/>
              <a:t>Sowohl Scrum als auch Kanban schaffen ein kollaboratives und transparentes Arbeitsumfeld:</a:t>
            </a:r>
          </a:p>
          <a:p>
            <a:pPr algn="just"/>
            <a:endParaRPr lang="en-GB" sz="900" dirty="0"/>
          </a:p>
          <a:p>
            <a:pPr algn="just"/>
            <a:r>
              <a:rPr lang="en-GB" sz="2000" b="1" dirty="0">
                <a:highlight>
                  <a:srgbClr val="F36C2F"/>
                </a:highlight>
              </a:rPr>
              <a:t>Scrum: </a:t>
            </a:r>
            <a:r>
              <a:rPr lang="en-GB" sz="2000" dirty="0"/>
              <a:t>Durch Zeremonien wie tägliche Stand-ups und Sprint-Reviews kommunizieren die Teams regelmäßig miteinander und stimmen sich auf ihre Ziele ab, wodurch ein Gefühl der gemeinsamen Verantwortung entsteht.</a:t>
            </a:r>
          </a:p>
          <a:p>
            <a:pPr algn="just"/>
            <a:endParaRPr lang="en-GB" sz="900" dirty="0"/>
          </a:p>
          <a:p>
            <a:pPr algn="just"/>
            <a:r>
              <a:rPr lang="en-GB" sz="2000" b="1" dirty="0">
                <a:highlight>
                  <a:srgbClr val="60BA47"/>
                </a:highlight>
              </a:rPr>
              <a:t>Kanban: </a:t>
            </a:r>
            <a:r>
              <a:rPr lang="en-GB" sz="2000" dirty="0"/>
              <a:t>Die visuelle Natur von Kanban-Tafeln stellt sicher, dass jeder den Fortschritt und den Status von Aufgaben sehen kann, was Transparenz und Teamarbeit fördert.</a:t>
            </a:r>
          </a:p>
          <a:p>
            <a:pPr algn="just"/>
            <a:endParaRPr lang="en-GB" sz="900" dirty="0"/>
          </a:p>
          <a:p>
            <a:pPr algn="just"/>
            <a:r>
              <a:rPr lang="en-GB" sz="2000" b="1" dirty="0"/>
              <a:t>Kontinuierliche Verbesserung: Agile Methoden fördern regelmäßige Reflexion und iterative Verbesserung</a:t>
            </a:r>
          </a:p>
          <a:p>
            <a:pPr algn="just"/>
            <a:endParaRPr lang="en-GB" sz="900" dirty="0"/>
          </a:p>
          <a:p>
            <a:pPr algn="just"/>
            <a:r>
              <a:rPr lang="en-GB" sz="2000" b="1" dirty="0">
                <a:highlight>
                  <a:srgbClr val="F36C2F"/>
                </a:highlight>
              </a:rPr>
              <a:t>Scrum: </a:t>
            </a:r>
            <a:r>
              <a:rPr lang="en-GB" sz="2000" dirty="0"/>
              <a:t>Durch Sprint-Retrospektiven ermitteln die Teams, was gut funktioniert hat und was verbessert werden kann, um ihre Prozesse und Ergebnisse kontinuierlich zu verbessern.</a:t>
            </a:r>
          </a:p>
          <a:p>
            <a:pPr algn="just"/>
            <a:endParaRPr lang="en-GB" sz="900" dirty="0"/>
          </a:p>
          <a:p>
            <a:pPr algn="just"/>
            <a:r>
              <a:rPr lang="en-GB" sz="2000" b="1" dirty="0">
                <a:highlight>
                  <a:srgbClr val="60BA47"/>
                </a:highlight>
              </a:rPr>
              <a:t>Kanban: </a:t>
            </a:r>
            <a:r>
              <a:rPr lang="en-GB" sz="2000" dirty="0"/>
              <a:t>Durch kontinuierliche Überwachung der Arbeitsabläufe und schrittweise Anpassungen können die Teams ihre Effizienz und Effektivität stetig verbessern.</a:t>
            </a:r>
          </a:p>
          <a:p>
            <a:pPr algn="just"/>
            <a:endParaRPr lang="en-GB" sz="2000" dirty="0"/>
          </a:p>
        </p:txBody>
      </p:sp>
      <p:grpSp>
        <p:nvGrpSpPr>
          <p:cNvPr id="4" name="Group 3">
            <a:extLst>
              <a:ext uri="{FF2B5EF4-FFF2-40B4-BE49-F238E27FC236}">
                <a16:creationId xmlns:a16="http://schemas.microsoft.com/office/drawing/2014/main" id="{D0B4E4EF-3F52-F5E8-44F1-2AD1ECEE68B0}"/>
              </a:ext>
            </a:extLst>
          </p:cNvPr>
          <p:cNvGrpSpPr/>
          <p:nvPr/>
        </p:nvGrpSpPr>
        <p:grpSpPr>
          <a:xfrm>
            <a:off x="10525839" y="423290"/>
            <a:ext cx="1128815" cy="1012795"/>
            <a:chOff x="5591874" y="2370217"/>
            <a:chExt cx="948345" cy="850874"/>
          </a:xfrm>
          <a:solidFill>
            <a:srgbClr val="0F486D"/>
          </a:solidFill>
        </p:grpSpPr>
        <p:sp>
          <p:nvSpPr>
            <p:cNvPr id="5" name="Freeform 213">
              <a:extLst>
                <a:ext uri="{FF2B5EF4-FFF2-40B4-BE49-F238E27FC236}">
                  <a16:creationId xmlns:a16="http://schemas.microsoft.com/office/drawing/2014/main" id="{5D62CEFD-D824-1EFB-896C-BDBF12A34076}"/>
                </a:ext>
              </a:extLst>
            </p:cNvPr>
            <p:cNvSpPr/>
            <p:nvPr/>
          </p:nvSpPr>
          <p:spPr>
            <a:xfrm>
              <a:off x="6136387" y="2470431"/>
              <a:ext cx="155736" cy="311645"/>
            </a:xfrm>
            <a:custGeom>
              <a:avLst/>
              <a:gdLst>
                <a:gd name="connsiteX0" fmla="*/ 116719 w 155736"/>
                <a:gd name="connsiteY0" fmla="*/ 225830 h 311645"/>
                <a:gd name="connsiteX1" fmla="*/ 104975 w 155736"/>
                <a:gd name="connsiteY1" fmla="*/ 239380 h 311645"/>
                <a:gd name="connsiteX2" fmla="*/ 34516 w 155736"/>
                <a:gd name="connsiteY2" fmla="*/ 311646 h 311645"/>
                <a:gd name="connsiteX3" fmla="*/ 3804 w 155736"/>
                <a:gd name="connsiteY3" fmla="*/ 213184 h 311645"/>
                <a:gd name="connsiteX4" fmla="*/ 23676 w 155736"/>
                <a:gd name="connsiteY4" fmla="*/ 127368 h 311645"/>
                <a:gd name="connsiteX5" fmla="*/ 73359 w 155736"/>
                <a:gd name="connsiteY5" fmla="*/ 74072 h 311645"/>
                <a:gd name="connsiteX6" fmla="*/ 85102 w 155736"/>
                <a:gd name="connsiteY6" fmla="*/ 57813 h 311645"/>
                <a:gd name="connsiteX7" fmla="*/ 115815 w 155736"/>
                <a:gd name="connsiteY7" fmla="*/ 903 h 311645"/>
                <a:gd name="connsiteX8" fmla="*/ 116719 w 155736"/>
                <a:gd name="connsiteY8" fmla="*/ 0 h 311645"/>
                <a:gd name="connsiteX9" fmla="*/ 117622 w 155736"/>
                <a:gd name="connsiteY9" fmla="*/ 0 h 311645"/>
                <a:gd name="connsiteX10" fmla="*/ 143818 w 155736"/>
                <a:gd name="connsiteY10" fmla="*/ 175245 h 3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36" h="311645">
                  <a:moveTo>
                    <a:pt x="116719" y="225830"/>
                  </a:moveTo>
                  <a:cubicBezTo>
                    <a:pt x="113105" y="230347"/>
                    <a:pt x="109492" y="234864"/>
                    <a:pt x="104975" y="239380"/>
                  </a:cubicBezTo>
                  <a:lnTo>
                    <a:pt x="34516" y="311646"/>
                  </a:lnTo>
                  <a:lnTo>
                    <a:pt x="3804" y="213184"/>
                  </a:lnTo>
                  <a:cubicBezTo>
                    <a:pt x="-5230" y="183374"/>
                    <a:pt x="1997" y="149951"/>
                    <a:pt x="23676" y="127368"/>
                  </a:cubicBezTo>
                  <a:lnTo>
                    <a:pt x="73359" y="74072"/>
                  </a:lnTo>
                  <a:cubicBezTo>
                    <a:pt x="77876" y="69556"/>
                    <a:pt x="82392" y="63233"/>
                    <a:pt x="85102" y="57813"/>
                  </a:cubicBezTo>
                  <a:lnTo>
                    <a:pt x="115815" y="903"/>
                  </a:lnTo>
                  <a:cubicBezTo>
                    <a:pt x="115815" y="903"/>
                    <a:pt x="115815" y="0"/>
                    <a:pt x="116719" y="0"/>
                  </a:cubicBezTo>
                  <a:cubicBezTo>
                    <a:pt x="117622" y="0"/>
                    <a:pt x="117622" y="0"/>
                    <a:pt x="117622" y="0"/>
                  </a:cubicBezTo>
                  <a:cubicBezTo>
                    <a:pt x="156465" y="50586"/>
                    <a:pt x="166401" y="115625"/>
                    <a:pt x="143818" y="175245"/>
                  </a:cubicBezTo>
                </a:path>
              </a:pathLst>
            </a:custGeom>
            <a:solidFill>
              <a:srgbClr val="60BA47"/>
            </a:solidFill>
            <a:ln w="9028" cap="flat">
              <a:noFill/>
              <a:prstDash val="solid"/>
              <a:miter/>
            </a:ln>
          </p:spPr>
          <p:txBody>
            <a:bodyPr rtlCol="0" anchor="ctr"/>
            <a:lstStyle/>
            <a:p>
              <a:endParaRPr lang="en-US"/>
            </a:p>
          </p:txBody>
        </p:sp>
        <p:sp>
          <p:nvSpPr>
            <p:cNvPr id="6" name="Freeform 214">
              <a:extLst>
                <a:ext uri="{FF2B5EF4-FFF2-40B4-BE49-F238E27FC236}">
                  <a16:creationId xmlns:a16="http://schemas.microsoft.com/office/drawing/2014/main" id="{170CE3DC-F30E-111C-1B3D-0CF30480B29D}"/>
                </a:ext>
              </a:extLst>
            </p:cNvPr>
            <p:cNvSpPr/>
            <p:nvPr/>
          </p:nvSpPr>
          <p:spPr>
            <a:xfrm>
              <a:off x="6066118" y="2521921"/>
              <a:ext cx="90137" cy="249316"/>
            </a:xfrm>
            <a:custGeom>
              <a:avLst/>
              <a:gdLst>
                <a:gd name="connsiteX0" fmla="*/ 0 w 90137"/>
                <a:gd name="connsiteY0" fmla="*/ 130982 h 249316"/>
                <a:gd name="connsiteX1" fmla="*/ 52393 w 90137"/>
                <a:gd name="connsiteY1" fmla="*/ 27100 h 249316"/>
                <a:gd name="connsiteX2" fmla="*/ 89429 w 90137"/>
                <a:gd name="connsiteY2" fmla="*/ 0 h 249316"/>
                <a:gd name="connsiteX3" fmla="*/ 85816 w 90137"/>
                <a:gd name="connsiteY3" fmla="*/ 43359 h 249316"/>
                <a:gd name="connsiteX4" fmla="*/ 73169 w 90137"/>
                <a:gd name="connsiteY4" fmla="*/ 56909 h 249316"/>
                <a:gd name="connsiteX5" fmla="*/ 46973 w 90137"/>
                <a:gd name="connsiteY5" fmla="*/ 169824 h 249316"/>
                <a:gd name="connsiteX6" fmla="*/ 72266 w 90137"/>
                <a:gd name="connsiteY6" fmla="*/ 249317 h 249316"/>
                <a:gd name="connsiteX7" fmla="*/ 51489 w 90137"/>
                <a:gd name="connsiteY7" fmla="*/ 233960 h 249316"/>
                <a:gd name="connsiteX8" fmla="*/ 0 w 90137"/>
                <a:gd name="connsiteY8" fmla="*/ 130982 h 24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37" h="249316">
                  <a:moveTo>
                    <a:pt x="0" y="130982"/>
                  </a:moveTo>
                  <a:cubicBezTo>
                    <a:pt x="0" y="89428"/>
                    <a:pt x="18970" y="51489"/>
                    <a:pt x="52393" y="27100"/>
                  </a:cubicBezTo>
                  <a:lnTo>
                    <a:pt x="89429" y="0"/>
                  </a:lnTo>
                  <a:cubicBezTo>
                    <a:pt x="91236" y="13550"/>
                    <a:pt x="89429" y="28003"/>
                    <a:pt x="85816" y="43359"/>
                  </a:cubicBezTo>
                  <a:lnTo>
                    <a:pt x="73169" y="56909"/>
                  </a:lnTo>
                  <a:cubicBezTo>
                    <a:pt x="45166" y="87622"/>
                    <a:pt x="35229" y="130982"/>
                    <a:pt x="46973" y="169824"/>
                  </a:cubicBezTo>
                  <a:lnTo>
                    <a:pt x="72266" y="249317"/>
                  </a:lnTo>
                  <a:lnTo>
                    <a:pt x="51489" y="233960"/>
                  </a:lnTo>
                  <a:cubicBezTo>
                    <a:pt x="18970" y="210474"/>
                    <a:pt x="0" y="172534"/>
                    <a:pt x="0" y="130982"/>
                  </a:cubicBezTo>
                  <a:close/>
                </a:path>
              </a:pathLst>
            </a:custGeom>
            <a:solidFill>
              <a:srgbClr val="60BA47"/>
            </a:solidFill>
            <a:ln w="9028" cap="flat">
              <a:noFill/>
              <a:prstDash val="solid"/>
              <a:miter/>
            </a:ln>
          </p:spPr>
          <p:txBody>
            <a:bodyPr rtlCol="0" anchor="ctr"/>
            <a:lstStyle/>
            <a:p>
              <a:endParaRPr lang="en-US"/>
            </a:p>
          </p:txBody>
        </p:sp>
        <p:grpSp>
          <p:nvGrpSpPr>
            <p:cNvPr id="7" name="Graphic 2">
              <a:extLst>
                <a:ext uri="{FF2B5EF4-FFF2-40B4-BE49-F238E27FC236}">
                  <a16:creationId xmlns:a16="http://schemas.microsoft.com/office/drawing/2014/main" id="{3CBBF287-2747-9FCF-E8C5-91D6B2F81D8C}"/>
                </a:ext>
              </a:extLst>
            </p:cNvPr>
            <p:cNvGrpSpPr/>
            <p:nvPr/>
          </p:nvGrpSpPr>
          <p:grpSpPr>
            <a:xfrm>
              <a:off x="5591874" y="2370217"/>
              <a:ext cx="948345" cy="850874"/>
              <a:chOff x="5591874" y="2370217"/>
              <a:chExt cx="948345" cy="850874"/>
            </a:xfrm>
            <a:grpFill/>
          </p:grpSpPr>
          <p:sp>
            <p:nvSpPr>
              <p:cNvPr id="8" name="Freeform 216">
                <a:extLst>
                  <a:ext uri="{FF2B5EF4-FFF2-40B4-BE49-F238E27FC236}">
                    <a16:creationId xmlns:a16="http://schemas.microsoft.com/office/drawing/2014/main" id="{C20D3ECA-3783-9809-5B2C-ED0A1084B928}"/>
                  </a:ext>
                </a:extLst>
              </p:cNvPr>
              <p:cNvSpPr/>
              <p:nvPr/>
            </p:nvSpPr>
            <p:spPr>
              <a:xfrm>
                <a:off x="5591874" y="2460359"/>
                <a:ext cx="948345" cy="758021"/>
              </a:xfrm>
              <a:custGeom>
                <a:avLst/>
                <a:gdLst>
                  <a:gd name="connsiteX0" fmla="*/ 943068 w 948345"/>
                  <a:gd name="connsiteY0" fmla="*/ 515932 h 758021"/>
                  <a:gd name="connsiteX1" fmla="*/ 874415 w 948345"/>
                  <a:gd name="connsiteY1" fmla="*/ 487026 h 758021"/>
                  <a:gd name="connsiteX2" fmla="*/ 832863 w 948345"/>
                  <a:gd name="connsiteY2" fmla="*/ 501479 h 758021"/>
                  <a:gd name="connsiteX3" fmla="*/ 787696 w 948345"/>
                  <a:gd name="connsiteY3" fmla="*/ 461733 h 758021"/>
                  <a:gd name="connsiteX4" fmla="*/ 578126 w 948345"/>
                  <a:gd name="connsiteY4" fmla="*/ 412050 h 758021"/>
                  <a:gd name="connsiteX5" fmla="*/ 578126 w 948345"/>
                  <a:gd name="connsiteY5" fmla="*/ 373207 h 758021"/>
                  <a:gd name="connsiteX6" fmla="*/ 660328 w 948345"/>
                  <a:gd name="connsiteY6" fmla="*/ 287392 h 758021"/>
                  <a:gd name="connsiteX7" fmla="*/ 673878 w 948345"/>
                  <a:gd name="connsiteY7" fmla="*/ 272035 h 758021"/>
                  <a:gd name="connsiteX8" fmla="*/ 672071 w 948345"/>
                  <a:gd name="connsiteY8" fmla="*/ 252162 h 758021"/>
                  <a:gd name="connsiteX9" fmla="*/ 652198 w 948345"/>
                  <a:gd name="connsiteY9" fmla="*/ 253969 h 758021"/>
                  <a:gd name="connsiteX10" fmla="*/ 640455 w 948345"/>
                  <a:gd name="connsiteY10" fmla="*/ 267519 h 758021"/>
                  <a:gd name="connsiteX11" fmla="*/ 569996 w 948345"/>
                  <a:gd name="connsiteY11" fmla="*/ 339784 h 758021"/>
                  <a:gd name="connsiteX12" fmla="*/ 539283 w 948345"/>
                  <a:gd name="connsiteY12" fmla="*/ 241322 h 758021"/>
                  <a:gd name="connsiteX13" fmla="*/ 559156 w 948345"/>
                  <a:gd name="connsiteY13" fmla="*/ 155506 h 758021"/>
                  <a:gd name="connsiteX14" fmla="*/ 608839 w 948345"/>
                  <a:gd name="connsiteY14" fmla="*/ 102211 h 758021"/>
                  <a:gd name="connsiteX15" fmla="*/ 620582 w 948345"/>
                  <a:gd name="connsiteY15" fmla="*/ 85951 h 758021"/>
                  <a:gd name="connsiteX16" fmla="*/ 651295 w 948345"/>
                  <a:gd name="connsiteY16" fmla="*/ 29041 h 758021"/>
                  <a:gd name="connsiteX17" fmla="*/ 652198 w 948345"/>
                  <a:gd name="connsiteY17" fmla="*/ 28138 h 758021"/>
                  <a:gd name="connsiteX18" fmla="*/ 653101 w 948345"/>
                  <a:gd name="connsiteY18" fmla="*/ 28138 h 758021"/>
                  <a:gd name="connsiteX19" fmla="*/ 679298 w 948345"/>
                  <a:gd name="connsiteY19" fmla="*/ 203383 h 758021"/>
                  <a:gd name="connsiteX20" fmla="*/ 687428 w 948345"/>
                  <a:gd name="connsiteY20" fmla="*/ 221449 h 758021"/>
                  <a:gd name="connsiteX21" fmla="*/ 705494 w 948345"/>
                  <a:gd name="connsiteY21" fmla="*/ 213319 h 758021"/>
                  <a:gd name="connsiteX22" fmla="*/ 674781 w 948345"/>
                  <a:gd name="connsiteY22" fmla="*/ 10975 h 758021"/>
                  <a:gd name="connsiteX23" fmla="*/ 649488 w 948345"/>
                  <a:gd name="connsiteY23" fmla="*/ 136 h 758021"/>
                  <a:gd name="connsiteX24" fmla="*/ 626002 w 948345"/>
                  <a:gd name="connsiteY24" fmla="*/ 15492 h 758021"/>
                  <a:gd name="connsiteX25" fmla="*/ 595289 w 948345"/>
                  <a:gd name="connsiteY25" fmla="*/ 72401 h 758021"/>
                  <a:gd name="connsiteX26" fmla="*/ 587159 w 948345"/>
                  <a:gd name="connsiteY26" fmla="*/ 83241 h 758021"/>
                  <a:gd name="connsiteX27" fmla="*/ 582642 w 948345"/>
                  <a:gd name="connsiteY27" fmla="*/ 88661 h 758021"/>
                  <a:gd name="connsiteX28" fmla="*/ 579029 w 948345"/>
                  <a:gd name="connsiteY28" fmla="*/ 61561 h 758021"/>
                  <a:gd name="connsiteX29" fmla="*/ 566383 w 948345"/>
                  <a:gd name="connsiteY29" fmla="*/ 47108 h 758021"/>
                  <a:gd name="connsiteX30" fmla="*/ 547413 w 948345"/>
                  <a:gd name="connsiteY30" fmla="*/ 49818 h 758021"/>
                  <a:gd name="connsiteX31" fmla="*/ 500440 w 948345"/>
                  <a:gd name="connsiteY31" fmla="*/ 84144 h 758021"/>
                  <a:gd name="connsiteX32" fmla="*/ 436304 w 948345"/>
                  <a:gd name="connsiteY32" fmla="*/ 209706 h 758021"/>
                  <a:gd name="connsiteX33" fmla="*/ 499537 w 948345"/>
                  <a:gd name="connsiteY33" fmla="*/ 336171 h 758021"/>
                  <a:gd name="connsiteX34" fmla="*/ 549219 w 948345"/>
                  <a:gd name="connsiteY34" fmla="*/ 373207 h 758021"/>
                  <a:gd name="connsiteX35" fmla="*/ 549219 w 948345"/>
                  <a:gd name="connsiteY35" fmla="*/ 420180 h 758021"/>
                  <a:gd name="connsiteX36" fmla="*/ 525733 w 948345"/>
                  <a:gd name="connsiteY36" fmla="*/ 431019 h 758021"/>
                  <a:gd name="connsiteX37" fmla="*/ 403785 w 948345"/>
                  <a:gd name="connsiteY37" fmla="*/ 497865 h 758021"/>
                  <a:gd name="connsiteX38" fmla="*/ 395655 w 948345"/>
                  <a:gd name="connsiteY38" fmla="*/ 497865 h 758021"/>
                  <a:gd name="connsiteX39" fmla="*/ 326099 w 948345"/>
                  <a:gd name="connsiteY39" fmla="*/ 471669 h 758021"/>
                  <a:gd name="connsiteX40" fmla="*/ 152661 w 948345"/>
                  <a:gd name="connsiteY40" fmla="*/ 471669 h 758021"/>
                  <a:gd name="connsiteX41" fmla="*/ 119239 w 948345"/>
                  <a:gd name="connsiteY41" fmla="*/ 451796 h 758021"/>
                  <a:gd name="connsiteX42" fmla="*/ 13550 w 948345"/>
                  <a:gd name="connsiteY42" fmla="*/ 451796 h 758021"/>
                  <a:gd name="connsiteX43" fmla="*/ 0 w 948345"/>
                  <a:gd name="connsiteY43" fmla="*/ 465346 h 758021"/>
                  <a:gd name="connsiteX44" fmla="*/ 13550 w 948345"/>
                  <a:gd name="connsiteY44" fmla="*/ 478896 h 758021"/>
                  <a:gd name="connsiteX45" fmla="*/ 119239 w 948345"/>
                  <a:gd name="connsiteY45" fmla="*/ 478896 h 758021"/>
                  <a:gd name="connsiteX46" fmla="*/ 130078 w 948345"/>
                  <a:gd name="connsiteY46" fmla="*/ 489735 h 758021"/>
                  <a:gd name="connsiteX47" fmla="*/ 130078 w 948345"/>
                  <a:gd name="connsiteY47" fmla="*/ 530385 h 758021"/>
                  <a:gd name="connsiteX48" fmla="*/ 143628 w 948345"/>
                  <a:gd name="connsiteY48" fmla="*/ 543935 h 758021"/>
                  <a:gd name="connsiteX49" fmla="*/ 157178 w 948345"/>
                  <a:gd name="connsiteY49" fmla="*/ 530385 h 758021"/>
                  <a:gd name="connsiteX50" fmla="*/ 157178 w 948345"/>
                  <a:gd name="connsiteY50" fmla="*/ 497865 h 758021"/>
                  <a:gd name="connsiteX51" fmla="*/ 326099 w 948345"/>
                  <a:gd name="connsiteY51" fmla="*/ 497865 h 758021"/>
                  <a:gd name="connsiteX52" fmla="*/ 380298 w 948345"/>
                  <a:gd name="connsiteY52" fmla="*/ 520449 h 758021"/>
                  <a:gd name="connsiteX53" fmla="*/ 390235 w 948345"/>
                  <a:gd name="connsiteY53" fmla="*/ 524965 h 758021"/>
                  <a:gd name="connsiteX54" fmla="*/ 561866 w 948345"/>
                  <a:gd name="connsiteY54" fmla="*/ 524965 h 758021"/>
                  <a:gd name="connsiteX55" fmla="*/ 597999 w 948345"/>
                  <a:gd name="connsiteY55" fmla="*/ 561098 h 758021"/>
                  <a:gd name="connsiteX56" fmla="*/ 561866 w 948345"/>
                  <a:gd name="connsiteY56" fmla="*/ 597231 h 758021"/>
                  <a:gd name="connsiteX57" fmla="*/ 422754 w 948345"/>
                  <a:gd name="connsiteY57" fmla="*/ 597231 h 758021"/>
                  <a:gd name="connsiteX58" fmla="*/ 405591 w 948345"/>
                  <a:gd name="connsiteY58" fmla="*/ 604457 h 758021"/>
                  <a:gd name="connsiteX59" fmla="*/ 382105 w 948345"/>
                  <a:gd name="connsiteY59" fmla="*/ 627944 h 758021"/>
                  <a:gd name="connsiteX60" fmla="*/ 382105 w 948345"/>
                  <a:gd name="connsiteY60" fmla="*/ 647817 h 758021"/>
                  <a:gd name="connsiteX61" fmla="*/ 392041 w 948345"/>
                  <a:gd name="connsiteY61" fmla="*/ 652333 h 758021"/>
                  <a:gd name="connsiteX62" fmla="*/ 401978 w 948345"/>
                  <a:gd name="connsiteY62" fmla="*/ 647817 h 758021"/>
                  <a:gd name="connsiteX63" fmla="*/ 424561 w 948345"/>
                  <a:gd name="connsiteY63" fmla="*/ 625234 h 758021"/>
                  <a:gd name="connsiteX64" fmla="*/ 561866 w 948345"/>
                  <a:gd name="connsiteY64" fmla="*/ 625234 h 758021"/>
                  <a:gd name="connsiteX65" fmla="*/ 604322 w 948345"/>
                  <a:gd name="connsiteY65" fmla="*/ 608974 h 758021"/>
                  <a:gd name="connsiteX66" fmla="*/ 883448 w 948345"/>
                  <a:gd name="connsiteY66" fmla="*/ 510512 h 758021"/>
                  <a:gd name="connsiteX67" fmla="*/ 917775 w 948345"/>
                  <a:gd name="connsiteY67" fmla="*/ 524965 h 758021"/>
                  <a:gd name="connsiteX68" fmla="*/ 905128 w 948345"/>
                  <a:gd name="connsiteY68" fmla="*/ 561098 h 758021"/>
                  <a:gd name="connsiteX69" fmla="*/ 604322 w 948345"/>
                  <a:gd name="connsiteY69" fmla="*/ 717373 h 758021"/>
                  <a:gd name="connsiteX70" fmla="*/ 547413 w 948345"/>
                  <a:gd name="connsiteY70" fmla="*/ 730922 h 758021"/>
                  <a:gd name="connsiteX71" fmla="*/ 523023 w 948345"/>
                  <a:gd name="connsiteY71" fmla="*/ 730922 h 758021"/>
                  <a:gd name="connsiteX72" fmla="*/ 509473 w 948345"/>
                  <a:gd name="connsiteY72" fmla="*/ 744472 h 758021"/>
                  <a:gd name="connsiteX73" fmla="*/ 523023 w 948345"/>
                  <a:gd name="connsiteY73" fmla="*/ 758022 h 758021"/>
                  <a:gd name="connsiteX74" fmla="*/ 547413 w 948345"/>
                  <a:gd name="connsiteY74" fmla="*/ 758022 h 758021"/>
                  <a:gd name="connsiteX75" fmla="*/ 617872 w 948345"/>
                  <a:gd name="connsiteY75" fmla="*/ 740859 h 758021"/>
                  <a:gd name="connsiteX76" fmla="*/ 918678 w 948345"/>
                  <a:gd name="connsiteY76" fmla="*/ 584584 h 758021"/>
                  <a:gd name="connsiteX77" fmla="*/ 943068 w 948345"/>
                  <a:gd name="connsiteY77" fmla="*/ 515932 h 758021"/>
                  <a:gd name="connsiteX78" fmla="*/ 943068 w 948345"/>
                  <a:gd name="connsiteY78" fmla="*/ 515932 h 758021"/>
                  <a:gd name="connsiteX79" fmla="*/ 465211 w 948345"/>
                  <a:gd name="connsiteY79" fmla="*/ 211512 h 758021"/>
                  <a:gd name="connsiteX80" fmla="*/ 517603 w 948345"/>
                  <a:gd name="connsiteY80" fmla="*/ 107631 h 758021"/>
                  <a:gd name="connsiteX81" fmla="*/ 554639 w 948345"/>
                  <a:gd name="connsiteY81" fmla="*/ 80531 h 758021"/>
                  <a:gd name="connsiteX82" fmla="*/ 551026 w 948345"/>
                  <a:gd name="connsiteY82" fmla="*/ 123890 h 758021"/>
                  <a:gd name="connsiteX83" fmla="*/ 538380 w 948345"/>
                  <a:gd name="connsiteY83" fmla="*/ 137440 h 758021"/>
                  <a:gd name="connsiteX84" fmla="*/ 512183 w 948345"/>
                  <a:gd name="connsiteY84" fmla="*/ 250355 h 758021"/>
                  <a:gd name="connsiteX85" fmla="*/ 537476 w 948345"/>
                  <a:gd name="connsiteY85" fmla="*/ 329848 h 758021"/>
                  <a:gd name="connsiteX86" fmla="*/ 516700 w 948345"/>
                  <a:gd name="connsiteY86" fmla="*/ 314491 h 758021"/>
                  <a:gd name="connsiteX87" fmla="*/ 465211 w 948345"/>
                  <a:gd name="connsiteY87" fmla="*/ 211512 h 758021"/>
                  <a:gd name="connsiteX88" fmla="*/ 561866 w 948345"/>
                  <a:gd name="connsiteY88" fmla="*/ 499672 h 758021"/>
                  <a:gd name="connsiteX89" fmla="*/ 462501 w 948345"/>
                  <a:gd name="connsiteY89" fmla="*/ 499672 h 758021"/>
                  <a:gd name="connsiteX90" fmla="*/ 540186 w 948345"/>
                  <a:gd name="connsiteY90" fmla="*/ 457216 h 758021"/>
                  <a:gd name="connsiteX91" fmla="*/ 769630 w 948345"/>
                  <a:gd name="connsiteY91" fmla="*/ 482509 h 758021"/>
                  <a:gd name="connsiteX92" fmla="*/ 803053 w 948345"/>
                  <a:gd name="connsiteY92" fmla="*/ 511415 h 758021"/>
                  <a:gd name="connsiteX93" fmla="*/ 626002 w 948345"/>
                  <a:gd name="connsiteY93" fmla="*/ 573745 h 758021"/>
                  <a:gd name="connsiteX94" fmla="*/ 626905 w 948345"/>
                  <a:gd name="connsiteY94" fmla="*/ 562905 h 758021"/>
                  <a:gd name="connsiteX95" fmla="*/ 561866 w 948345"/>
                  <a:gd name="connsiteY95" fmla="*/ 499672 h 758021"/>
                  <a:gd name="connsiteX96" fmla="*/ 561866 w 948345"/>
                  <a:gd name="connsiteY96" fmla="*/ 499672 h 75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948345" h="758021">
                    <a:moveTo>
                      <a:pt x="943068" y="515932"/>
                    </a:moveTo>
                    <a:cubicBezTo>
                      <a:pt x="931325" y="489735"/>
                      <a:pt x="901515" y="477089"/>
                      <a:pt x="874415" y="487026"/>
                    </a:cubicBezTo>
                    <a:lnTo>
                      <a:pt x="832863" y="501479"/>
                    </a:lnTo>
                    <a:lnTo>
                      <a:pt x="787696" y="461733"/>
                    </a:lnTo>
                    <a:cubicBezTo>
                      <a:pt x="729884" y="411147"/>
                      <a:pt x="651295" y="393080"/>
                      <a:pt x="578126" y="412050"/>
                    </a:cubicBezTo>
                    <a:lnTo>
                      <a:pt x="578126" y="373207"/>
                    </a:lnTo>
                    <a:lnTo>
                      <a:pt x="660328" y="287392"/>
                    </a:lnTo>
                    <a:cubicBezTo>
                      <a:pt x="664845" y="282875"/>
                      <a:pt x="669361" y="277455"/>
                      <a:pt x="673878" y="272035"/>
                    </a:cubicBezTo>
                    <a:cubicBezTo>
                      <a:pt x="678394" y="265712"/>
                      <a:pt x="677491" y="257582"/>
                      <a:pt x="672071" y="252162"/>
                    </a:cubicBezTo>
                    <a:cubicBezTo>
                      <a:pt x="665748" y="247645"/>
                      <a:pt x="657618" y="248549"/>
                      <a:pt x="652198" y="253969"/>
                    </a:cubicBezTo>
                    <a:cubicBezTo>
                      <a:pt x="648585" y="258485"/>
                      <a:pt x="644971" y="263002"/>
                      <a:pt x="640455" y="267519"/>
                    </a:cubicBezTo>
                    <a:lnTo>
                      <a:pt x="569996" y="339784"/>
                    </a:lnTo>
                    <a:lnTo>
                      <a:pt x="539283" y="241322"/>
                    </a:lnTo>
                    <a:cubicBezTo>
                      <a:pt x="530250" y="211512"/>
                      <a:pt x="537476" y="178089"/>
                      <a:pt x="559156" y="155506"/>
                    </a:cubicBezTo>
                    <a:lnTo>
                      <a:pt x="608839" y="102211"/>
                    </a:lnTo>
                    <a:cubicBezTo>
                      <a:pt x="613355" y="97694"/>
                      <a:pt x="617872" y="91371"/>
                      <a:pt x="620582" y="85951"/>
                    </a:cubicBezTo>
                    <a:lnTo>
                      <a:pt x="651295" y="29041"/>
                    </a:lnTo>
                    <a:cubicBezTo>
                      <a:pt x="651295" y="29041"/>
                      <a:pt x="651295" y="28138"/>
                      <a:pt x="652198" y="28138"/>
                    </a:cubicBezTo>
                    <a:cubicBezTo>
                      <a:pt x="653101" y="28138"/>
                      <a:pt x="653101" y="28138"/>
                      <a:pt x="653101" y="28138"/>
                    </a:cubicBezTo>
                    <a:cubicBezTo>
                      <a:pt x="691944" y="78724"/>
                      <a:pt x="701881" y="143763"/>
                      <a:pt x="679298" y="203383"/>
                    </a:cubicBezTo>
                    <a:cubicBezTo>
                      <a:pt x="676588" y="210609"/>
                      <a:pt x="680201" y="218739"/>
                      <a:pt x="687428" y="221449"/>
                    </a:cubicBezTo>
                    <a:cubicBezTo>
                      <a:pt x="694654" y="224159"/>
                      <a:pt x="702784" y="220546"/>
                      <a:pt x="705494" y="213319"/>
                    </a:cubicBezTo>
                    <a:cubicBezTo>
                      <a:pt x="731690" y="144667"/>
                      <a:pt x="719947" y="68788"/>
                      <a:pt x="674781" y="10975"/>
                    </a:cubicBezTo>
                    <a:cubicBezTo>
                      <a:pt x="668458" y="2845"/>
                      <a:pt x="659425" y="-768"/>
                      <a:pt x="649488" y="136"/>
                    </a:cubicBezTo>
                    <a:cubicBezTo>
                      <a:pt x="639552" y="1039"/>
                      <a:pt x="631422" y="6458"/>
                      <a:pt x="626002" y="15492"/>
                    </a:cubicBezTo>
                    <a:lnTo>
                      <a:pt x="595289" y="72401"/>
                    </a:lnTo>
                    <a:cubicBezTo>
                      <a:pt x="593482" y="76014"/>
                      <a:pt x="590772" y="79628"/>
                      <a:pt x="587159" y="83241"/>
                    </a:cubicBezTo>
                    <a:lnTo>
                      <a:pt x="582642" y="88661"/>
                    </a:lnTo>
                    <a:cubicBezTo>
                      <a:pt x="582642" y="79628"/>
                      <a:pt x="580836" y="70595"/>
                      <a:pt x="579029" y="61561"/>
                    </a:cubicBezTo>
                    <a:cubicBezTo>
                      <a:pt x="577222" y="55238"/>
                      <a:pt x="572706" y="49818"/>
                      <a:pt x="566383" y="47108"/>
                    </a:cubicBezTo>
                    <a:cubicBezTo>
                      <a:pt x="560059" y="44398"/>
                      <a:pt x="552833" y="46205"/>
                      <a:pt x="547413" y="49818"/>
                    </a:cubicBezTo>
                    <a:lnTo>
                      <a:pt x="500440" y="84144"/>
                    </a:lnTo>
                    <a:cubicBezTo>
                      <a:pt x="459791" y="113954"/>
                      <a:pt x="436304" y="160023"/>
                      <a:pt x="436304" y="209706"/>
                    </a:cubicBezTo>
                    <a:cubicBezTo>
                      <a:pt x="436304" y="259388"/>
                      <a:pt x="458887" y="306361"/>
                      <a:pt x="499537" y="336171"/>
                    </a:cubicBezTo>
                    <a:lnTo>
                      <a:pt x="549219" y="373207"/>
                    </a:lnTo>
                    <a:lnTo>
                      <a:pt x="549219" y="420180"/>
                    </a:lnTo>
                    <a:cubicBezTo>
                      <a:pt x="541090" y="423793"/>
                      <a:pt x="532960" y="427407"/>
                      <a:pt x="525733" y="431019"/>
                    </a:cubicBezTo>
                    <a:lnTo>
                      <a:pt x="403785" y="497865"/>
                    </a:lnTo>
                    <a:lnTo>
                      <a:pt x="395655" y="497865"/>
                    </a:lnTo>
                    <a:cubicBezTo>
                      <a:pt x="376685" y="480702"/>
                      <a:pt x="352295" y="471669"/>
                      <a:pt x="326099" y="471669"/>
                    </a:cubicBezTo>
                    <a:lnTo>
                      <a:pt x="152661" y="471669"/>
                    </a:lnTo>
                    <a:cubicBezTo>
                      <a:pt x="146338" y="459926"/>
                      <a:pt x="133691" y="451796"/>
                      <a:pt x="119239" y="451796"/>
                    </a:cubicBezTo>
                    <a:lnTo>
                      <a:pt x="13550" y="451796"/>
                    </a:lnTo>
                    <a:cubicBezTo>
                      <a:pt x="6323" y="451796"/>
                      <a:pt x="0" y="458119"/>
                      <a:pt x="0" y="465346"/>
                    </a:cubicBezTo>
                    <a:cubicBezTo>
                      <a:pt x="0" y="472573"/>
                      <a:pt x="6323" y="478896"/>
                      <a:pt x="13550" y="478896"/>
                    </a:cubicBezTo>
                    <a:lnTo>
                      <a:pt x="119239" y="478896"/>
                    </a:lnTo>
                    <a:cubicBezTo>
                      <a:pt x="125562" y="478896"/>
                      <a:pt x="130078" y="483413"/>
                      <a:pt x="130078" y="489735"/>
                    </a:cubicBezTo>
                    <a:lnTo>
                      <a:pt x="130078" y="530385"/>
                    </a:lnTo>
                    <a:cubicBezTo>
                      <a:pt x="130078" y="537612"/>
                      <a:pt x="136402" y="543935"/>
                      <a:pt x="143628" y="543935"/>
                    </a:cubicBezTo>
                    <a:cubicBezTo>
                      <a:pt x="150855" y="543935"/>
                      <a:pt x="157178" y="537612"/>
                      <a:pt x="157178" y="530385"/>
                    </a:cubicBezTo>
                    <a:lnTo>
                      <a:pt x="157178" y="497865"/>
                    </a:lnTo>
                    <a:lnTo>
                      <a:pt x="326099" y="497865"/>
                    </a:lnTo>
                    <a:cubicBezTo>
                      <a:pt x="346875" y="497865"/>
                      <a:pt x="365845" y="505996"/>
                      <a:pt x="380298" y="520449"/>
                    </a:cubicBezTo>
                    <a:cubicBezTo>
                      <a:pt x="383008" y="523158"/>
                      <a:pt x="386621" y="524965"/>
                      <a:pt x="390235" y="524965"/>
                    </a:cubicBezTo>
                    <a:lnTo>
                      <a:pt x="561866" y="524965"/>
                    </a:lnTo>
                    <a:cubicBezTo>
                      <a:pt x="581739" y="524965"/>
                      <a:pt x="597999" y="541225"/>
                      <a:pt x="597999" y="561098"/>
                    </a:cubicBezTo>
                    <a:cubicBezTo>
                      <a:pt x="597999" y="580971"/>
                      <a:pt x="581739" y="597231"/>
                      <a:pt x="561866" y="597231"/>
                    </a:cubicBezTo>
                    <a:lnTo>
                      <a:pt x="422754" y="597231"/>
                    </a:lnTo>
                    <a:cubicBezTo>
                      <a:pt x="416431" y="597231"/>
                      <a:pt x="410108" y="599941"/>
                      <a:pt x="405591" y="604457"/>
                    </a:cubicBezTo>
                    <a:lnTo>
                      <a:pt x="382105" y="627944"/>
                    </a:lnTo>
                    <a:cubicBezTo>
                      <a:pt x="376685" y="633364"/>
                      <a:pt x="376685" y="642397"/>
                      <a:pt x="382105" y="647817"/>
                    </a:cubicBezTo>
                    <a:cubicBezTo>
                      <a:pt x="384815" y="650527"/>
                      <a:pt x="388428" y="652333"/>
                      <a:pt x="392041" y="652333"/>
                    </a:cubicBezTo>
                    <a:cubicBezTo>
                      <a:pt x="395655" y="652333"/>
                      <a:pt x="399268" y="650527"/>
                      <a:pt x="401978" y="647817"/>
                    </a:cubicBezTo>
                    <a:lnTo>
                      <a:pt x="424561" y="625234"/>
                    </a:lnTo>
                    <a:lnTo>
                      <a:pt x="561866" y="625234"/>
                    </a:lnTo>
                    <a:cubicBezTo>
                      <a:pt x="578126" y="625234"/>
                      <a:pt x="592579" y="618911"/>
                      <a:pt x="604322" y="608974"/>
                    </a:cubicBezTo>
                    <a:lnTo>
                      <a:pt x="883448" y="510512"/>
                    </a:lnTo>
                    <a:cubicBezTo>
                      <a:pt x="896998" y="505996"/>
                      <a:pt x="912355" y="512318"/>
                      <a:pt x="917775" y="524965"/>
                    </a:cubicBezTo>
                    <a:cubicBezTo>
                      <a:pt x="924098" y="538515"/>
                      <a:pt x="918678" y="554775"/>
                      <a:pt x="905128" y="561098"/>
                    </a:cubicBezTo>
                    <a:lnTo>
                      <a:pt x="604322" y="717373"/>
                    </a:lnTo>
                    <a:cubicBezTo>
                      <a:pt x="586256" y="726406"/>
                      <a:pt x="567286" y="730922"/>
                      <a:pt x="547413" y="730922"/>
                    </a:cubicBezTo>
                    <a:lnTo>
                      <a:pt x="523023" y="730922"/>
                    </a:lnTo>
                    <a:cubicBezTo>
                      <a:pt x="515797" y="730922"/>
                      <a:pt x="509473" y="737246"/>
                      <a:pt x="509473" y="744472"/>
                    </a:cubicBezTo>
                    <a:cubicBezTo>
                      <a:pt x="509473" y="751699"/>
                      <a:pt x="515797" y="758022"/>
                      <a:pt x="523023" y="758022"/>
                    </a:cubicBezTo>
                    <a:lnTo>
                      <a:pt x="547413" y="758022"/>
                    </a:lnTo>
                    <a:cubicBezTo>
                      <a:pt x="571802" y="758022"/>
                      <a:pt x="596192" y="751699"/>
                      <a:pt x="617872" y="740859"/>
                    </a:cubicBezTo>
                    <a:lnTo>
                      <a:pt x="918678" y="584584"/>
                    </a:lnTo>
                    <a:cubicBezTo>
                      <a:pt x="944874" y="574648"/>
                      <a:pt x="955714" y="543032"/>
                      <a:pt x="943068" y="515932"/>
                    </a:cubicBezTo>
                    <a:lnTo>
                      <a:pt x="943068" y="515932"/>
                    </a:lnTo>
                    <a:close/>
                    <a:moveTo>
                      <a:pt x="465211" y="211512"/>
                    </a:moveTo>
                    <a:cubicBezTo>
                      <a:pt x="465211" y="169960"/>
                      <a:pt x="484180" y="132020"/>
                      <a:pt x="517603" y="107631"/>
                    </a:cubicBezTo>
                    <a:lnTo>
                      <a:pt x="554639" y="80531"/>
                    </a:lnTo>
                    <a:cubicBezTo>
                      <a:pt x="556446" y="94081"/>
                      <a:pt x="554639" y="108534"/>
                      <a:pt x="551026" y="123890"/>
                    </a:cubicBezTo>
                    <a:lnTo>
                      <a:pt x="538380" y="137440"/>
                    </a:lnTo>
                    <a:cubicBezTo>
                      <a:pt x="510377" y="168153"/>
                      <a:pt x="500440" y="211512"/>
                      <a:pt x="512183" y="250355"/>
                    </a:cubicBezTo>
                    <a:lnTo>
                      <a:pt x="537476" y="329848"/>
                    </a:lnTo>
                    <a:lnTo>
                      <a:pt x="516700" y="314491"/>
                    </a:lnTo>
                    <a:cubicBezTo>
                      <a:pt x="484180" y="291005"/>
                      <a:pt x="465211" y="253066"/>
                      <a:pt x="465211" y="211512"/>
                    </a:cubicBezTo>
                    <a:close/>
                    <a:moveTo>
                      <a:pt x="561866" y="499672"/>
                    </a:moveTo>
                    <a:lnTo>
                      <a:pt x="462501" y="499672"/>
                    </a:lnTo>
                    <a:lnTo>
                      <a:pt x="540186" y="457216"/>
                    </a:lnTo>
                    <a:cubicBezTo>
                      <a:pt x="614259" y="416567"/>
                      <a:pt x="706398" y="427407"/>
                      <a:pt x="769630" y="482509"/>
                    </a:cubicBezTo>
                    <a:lnTo>
                      <a:pt x="803053" y="511415"/>
                    </a:lnTo>
                    <a:lnTo>
                      <a:pt x="626002" y="573745"/>
                    </a:lnTo>
                    <a:cubicBezTo>
                      <a:pt x="626905" y="570131"/>
                      <a:pt x="626905" y="566518"/>
                      <a:pt x="626905" y="562905"/>
                    </a:cubicBezTo>
                    <a:cubicBezTo>
                      <a:pt x="626002" y="528579"/>
                      <a:pt x="597096" y="499672"/>
                      <a:pt x="561866" y="499672"/>
                    </a:cubicBezTo>
                    <a:lnTo>
                      <a:pt x="561866" y="499672"/>
                    </a:lnTo>
                    <a:close/>
                  </a:path>
                </a:pathLst>
              </a:custGeom>
              <a:grpFill/>
              <a:ln w="9028" cap="flat">
                <a:noFill/>
                <a:prstDash val="solid"/>
                <a:miter/>
              </a:ln>
            </p:spPr>
            <p:txBody>
              <a:bodyPr rtlCol="0" anchor="ctr"/>
              <a:lstStyle/>
              <a:p>
                <a:endParaRPr lang="en-US"/>
              </a:p>
            </p:txBody>
          </p:sp>
          <p:sp>
            <p:nvSpPr>
              <p:cNvPr id="9" name="Freeform 217">
                <a:extLst>
                  <a:ext uri="{FF2B5EF4-FFF2-40B4-BE49-F238E27FC236}">
                    <a16:creationId xmlns:a16="http://schemas.microsoft.com/office/drawing/2014/main" id="{80070C99-13A5-6A9C-3D99-BB17470AA965}"/>
                  </a:ext>
                </a:extLst>
              </p:cNvPr>
              <p:cNvSpPr/>
              <p:nvPr/>
            </p:nvSpPr>
            <p:spPr>
              <a:xfrm>
                <a:off x="5591874" y="3039524"/>
                <a:ext cx="477039" cy="181567"/>
              </a:xfrm>
              <a:custGeom>
                <a:avLst/>
                <a:gdLst>
                  <a:gd name="connsiteX0" fmla="*/ 464307 w 477039"/>
                  <a:gd name="connsiteY0" fmla="*/ 154468 h 181567"/>
                  <a:gd name="connsiteX1" fmla="*/ 289063 w 477039"/>
                  <a:gd name="connsiteY1" fmla="*/ 154468 h 181567"/>
                  <a:gd name="connsiteX2" fmla="*/ 207764 w 477039"/>
                  <a:gd name="connsiteY2" fmla="*/ 124658 h 181567"/>
                  <a:gd name="connsiteX3" fmla="*/ 199634 w 477039"/>
                  <a:gd name="connsiteY3" fmla="*/ 117432 h 181567"/>
                  <a:gd name="connsiteX4" fmla="*/ 190601 w 477039"/>
                  <a:gd name="connsiteY4" fmla="*/ 113818 h 181567"/>
                  <a:gd name="connsiteX5" fmla="*/ 158081 w 477039"/>
                  <a:gd name="connsiteY5" fmla="*/ 113818 h 181567"/>
                  <a:gd name="connsiteX6" fmla="*/ 158081 w 477039"/>
                  <a:gd name="connsiteY6" fmla="*/ 13550 h 181567"/>
                  <a:gd name="connsiteX7" fmla="*/ 144531 w 477039"/>
                  <a:gd name="connsiteY7" fmla="*/ 0 h 181567"/>
                  <a:gd name="connsiteX8" fmla="*/ 130982 w 477039"/>
                  <a:gd name="connsiteY8" fmla="*/ 13550 h 181567"/>
                  <a:gd name="connsiteX9" fmla="*/ 130982 w 477039"/>
                  <a:gd name="connsiteY9" fmla="*/ 124658 h 181567"/>
                  <a:gd name="connsiteX10" fmla="*/ 120142 w 477039"/>
                  <a:gd name="connsiteY10" fmla="*/ 135498 h 181567"/>
                  <a:gd name="connsiteX11" fmla="*/ 13550 w 477039"/>
                  <a:gd name="connsiteY11" fmla="*/ 135498 h 181567"/>
                  <a:gd name="connsiteX12" fmla="*/ 0 w 477039"/>
                  <a:gd name="connsiteY12" fmla="*/ 149048 h 181567"/>
                  <a:gd name="connsiteX13" fmla="*/ 13550 w 477039"/>
                  <a:gd name="connsiteY13" fmla="*/ 162598 h 181567"/>
                  <a:gd name="connsiteX14" fmla="*/ 119239 w 477039"/>
                  <a:gd name="connsiteY14" fmla="*/ 162598 h 181567"/>
                  <a:gd name="connsiteX15" fmla="*/ 153565 w 477039"/>
                  <a:gd name="connsiteY15" fmla="*/ 140918 h 181567"/>
                  <a:gd name="connsiteX16" fmla="*/ 184278 w 477039"/>
                  <a:gd name="connsiteY16" fmla="*/ 140918 h 181567"/>
                  <a:gd name="connsiteX17" fmla="*/ 188794 w 477039"/>
                  <a:gd name="connsiteY17" fmla="*/ 144531 h 181567"/>
                  <a:gd name="connsiteX18" fmla="*/ 288160 w 477039"/>
                  <a:gd name="connsiteY18" fmla="*/ 181567 h 181567"/>
                  <a:gd name="connsiteX19" fmla="*/ 463404 w 477039"/>
                  <a:gd name="connsiteY19" fmla="*/ 181567 h 181567"/>
                  <a:gd name="connsiteX20" fmla="*/ 476954 w 477039"/>
                  <a:gd name="connsiteY20" fmla="*/ 168018 h 181567"/>
                  <a:gd name="connsiteX21" fmla="*/ 464307 w 477039"/>
                  <a:gd name="connsiteY21" fmla="*/ 154468 h 181567"/>
                  <a:gd name="connsiteX22" fmla="*/ 464307 w 477039"/>
                  <a:gd name="connsiteY22" fmla="*/ 154468 h 18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7039" h="181567">
                    <a:moveTo>
                      <a:pt x="464307" y="154468"/>
                    </a:moveTo>
                    <a:lnTo>
                      <a:pt x="289063" y="154468"/>
                    </a:lnTo>
                    <a:cubicBezTo>
                      <a:pt x="259253" y="154468"/>
                      <a:pt x="230347" y="143628"/>
                      <a:pt x="207764" y="124658"/>
                    </a:cubicBezTo>
                    <a:lnTo>
                      <a:pt x="199634" y="117432"/>
                    </a:lnTo>
                    <a:cubicBezTo>
                      <a:pt x="196924" y="115625"/>
                      <a:pt x="194214" y="113818"/>
                      <a:pt x="190601" y="113818"/>
                    </a:cubicBezTo>
                    <a:lnTo>
                      <a:pt x="158081" y="113818"/>
                    </a:lnTo>
                    <a:lnTo>
                      <a:pt x="158081" y="13550"/>
                    </a:lnTo>
                    <a:cubicBezTo>
                      <a:pt x="158081" y="6323"/>
                      <a:pt x="151758" y="0"/>
                      <a:pt x="144531" y="0"/>
                    </a:cubicBezTo>
                    <a:cubicBezTo>
                      <a:pt x="137305" y="0"/>
                      <a:pt x="130982" y="6323"/>
                      <a:pt x="130982" y="13550"/>
                    </a:cubicBezTo>
                    <a:lnTo>
                      <a:pt x="130982" y="124658"/>
                    </a:lnTo>
                    <a:cubicBezTo>
                      <a:pt x="130982" y="130982"/>
                      <a:pt x="126465" y="135498"/>
                      <a:pt x="120142" y="135498"/>
                    </a:cubicBezTo>
                    <a:lnTo>
                      <a:pt x="13550" y="135498"/>
                    </a:lnTo>
                    <a:cubicBezTo>
                      <a:pt x="6323" y="135498"/>
                      <a:pt x="0" y="141822"/>
                      <a:pt x="0" y="149048"/>
                    </a:cubicBezTo>
                    <a:cubicBezTo>
                      <a:pt x="0" y="156275"/>
                      <a:pt x="6323" y="162598"/>
                      <a:pt x="13550" y="162598"/>
                    </a:cubicBezTo>
                    <a:lnTo>
                      <a:pt x="119239" y="162598"/>
                    </a:lnTo>
                    <a:cubicBezTo>
                      <a:pt x="134595" y="162598"/>
                      <a:pt x="147241" y="153565"/>
                      <a:pt x="153565" y="140918"/>
                    </a:cubicBezTo>
                    <a:lnTo>
                      <a:pt x="184278" y="140918"/>
                    </a:lnTo>
                    <a:lnTo>
                      <a:pt x="188794" y="144531"/>
                    </a:lnTo>
                    <a:cubicBezTo>
                      <a:pt x="216797" y="168018"/>
                      <a:pt x="252027" y="181567"/>
                      <a:pt x="288160" y="181567"/>
                    </a:cubicBezTo>
                    <a:lnTo>
                      <a:pt x="463404" y="181567"/>
                    </a:lnTo>
                    <a:cubicBezTo>
                      <a:pt x="470631" y="181567"/>
                      <a:pt x="476954" y="175245"/>
                      <a:pt x="476954" y="168018"/>
                    </a:cubicBezTo>
                    <a:cubicBezTo>
                      <a:pt x="477857" y="160791"/>
                      <a:pt x="471534" y="154468"/>
                      <a:pt x="464307" y="154468"/>
                    </a:cubicBezTo>
                    <a:lnTo>
                      <a:pt x="464307" y="154468"/>
                    </a:lnTo>
                    <a:close/>
                  </a:path>
                </a:pathLst>
              </a:custGeom>
              <a:grpFill/>
              <a:ln w="9028" cap="flat">
                <a:noFill/>
                <a:prstDash val="solid"/>
                <a:miter/>
              </a:ln>
            </p:spPr>
            <p:txBody>
              <a:bodyPr rtlCol="0" anchor="ctr"/>
              <a:lstStyle/>
              <a:p>
                <a:endParaRPr lang="en-US"/>
              </a:p>
            </p:txBody>
          </p:sp>
          <p:sp>
            <p:nvSpPr>
              <p:cNvPr id="10" name="Freeform 218">
                <a:extLst>
                  <a:ext uri="{FF2B5EF4-FFF2-40B4-BE49-F238E27FC236}">
                    <a16:creationId xmlns:a16="http://schemas.microsoft.com/office/drawing/2014/main" id="{C2F9EEFD-FC9C-483C-03A5-322487961881}"/>
                  </a:ext>
                </a:extLst>
              </p:cNvPr>
              <p:cNvSpPr/>
              <p:nvPr/>
            </p:nvSpPr>
            <p:spPr>
              <a:xfrm>
                <a:off x="5864677" y="2438787"/>
                <a:ext cx="122879" cy="444462"/>
              </a:xfrm>
              <a:custGeom>
                <a:avLst/>
                <a:gdLst>
                  <a:gd name="connsiteX0" fmla="*/ 99365 w 122879"/>
                  <a:gd name="connsiteY0" fmla="*/ 440849 h 444462"/>
                  <a:gd name="connsiteX1" fmla="*/ 108399 w 122879"/>
                  <a:gd name="connsiteY1" fmla="*/ 444462 h 444462"/>
                  <a:gd name="connsiteX2" fmla="*/ 119238 w 122879"/>
                  <a:gd name="connsiteY2" fmla="*/ 439946 h 444462"/>
                  <a:gd name="connsiteX3" fmla="*/ 118335 w 122879"/>
                  <a:gd name="connsiteY3" fmla="*/ 420073 h 444462"/>
                  <a:gd name="connsiteX4" fmla="*/ 28906 w 122879"/>
                  <a:gd name="connsiteY4" fmla="*/ 222245 h 444462"/>
                  <a:gd name="connsiteX5" fmla="*/ 118335 w 122879"/>
                  <a:gd name="connsiteY5" fmla="*/ 24418 h 444462"/>
                  <a:gd name="connsiteX6" fmla="*/ 119238 w 122879"/>
                  <a:gd name="connsiteY6" fmla="*/ 4545 h 444462"/>
                  <a:gd name="connsiteX7" fmla="*/ 99365 w 122879"/>
                  <a:gd name="connsiteY7" fmla="*/ 3642 h 444462"/>
                  <a:gd name="connsiteX8" fmla="*/ 0 w 122879"/>
                  <a:gd name="connsiteY8" fmla="*/ 222245 h 444462"/>
                  <a:gd name="connsiteX9" fmla="*/ 99365 w 122879"/>
                  <a:gd name="connsiteY9" fmla="*/ 440849 h 44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879" h="444462">
                    <a:moveTo>
                      <a:pt x="99365" y="440849"/>
                    </a:moveTo>
                    <a:cubicBezTo>
                      <a:pt x="102075" y="443559"/>
                      <a:pt x="105688" y="444462"/>
                      <a:pt x="108399" y="444462"/>
                    </a:cubicBezTo>
                    <a:cubicBezTo>
                      <a:pt x="112012" y="444462"/>
                      <a:pt x="116528" y="442656"/>
                      <a:pt x="119238" y="439946"/>
                    </a:cubicBezTo>
                    <a:cubicBezTo>
                      <a:pt x="124658" y="434525"/>
                      <a:pt x="123755" y="425492"/>
                      <a:pt x="118335" y="420073"/>
                    </a:cubicBezTo>
                    <a:cubicBezTo>
                      <a:pt x="61426" y="370390"/>
                      <a:pt x="28906" y="298124"/>
                      <a:pt x="28906" y="222245"/>
                    </a:cubicBezTo>
                    <a:cubicBezTo>
                      <a:pt x="28906" y="146366"/>
                      <a:pt x="61426" y="74101"/>
                      <a:pt x="118335" y="24418"/>
                    </a:cubicBezTo>
                    <a:cubicBezTo>
                      <a:pt x="123755" y="18998"/>
                      <a:pt x="124658" y="10868"/>
                      <a:pt x="119238" y="4545"/>
                    </a:cubicBezTo>
                    <a:cubicBezTo>
                      <a:pt x="113818" y="-875"/>
                      <a:pt x="105688" y="-1779"/>
                      <a:pt x="99365" y="3642"/>
                    </a:cubicBezTo>
                    <a:cubicBezTo>
                      <a:pt x="36133" y="58744"/>
                      <a:pt x="0" y="139140"/>
                      <a:pt x="0" y="222245"/>
                    </a:cubicBezTo>
                    <a:cubicBezTo>
                      <a:pt x="0" y="305351"/>
                      <a:pt x="36133" y="385746"/>
                      <a:pt x="99365" y="440849"/>
                    </a:cubicBezTo>
                    <a:close/>
                  </a:path>
                </a:pathLst>
              </a:custGeom>
              <a:grpFill/>
              <a:ln w="9028" cap="flat">
                <a:noFill/>
                <a:prstDash val="solid"/>
                <a:miter/>
              </a:ln>
            </p:spPr>
            <p:txBody>
              <a:bodyPr rtlCol="0" anchor="ctr"/>
              <a:lstStyle/>
              <a:p>
                <a:endParaRPr lang="en-US"/>
              </a:p>
            </p:txBody>
          </p:sp>
          <p:sp>
            <p:nvSpPr>
              <p:cNvPr id="11" name="Freeform 219">
                <a:extLst>
                  <a:ext uri="{FF2B5EF4-FFF2-40B4-BE49-F238E27FC236}">
                    <a16:creationId xmlns:a16="http://schemas.microsoft.com/office/drawing/2014/main" id="{655EE4D5-91C1-1D06-5385-D9E2F2C7F772}"/>
                  </a:ext>
                </a:extLst>
              </p:cNvPr>
              <p:cNvSpPr/>
              <p:nvPr/>
            </p:nvSpPr>
            <p:spPr>
              <a:xfrm>
                <a:off x="6326247" y="2439690"/>
                <a:ext cx="121073" cy="442655"/>
              </a:xfrm>
              <a:custGeom>
                <a:avLst/>
                <a:gdLst>
                  <a:gd name="connsiteX0" fmla="*/ 5448 w 121073"/>
                  <a:gd name="connsiteY0" fmla="*/ 418266 h 442655"/>
                  <a:gd name="connsiteX1" fmla="*/ 4545 w 121073"/>
                  <a:gd name="connsiteY1" fmla="*/ 438139 h 442655"/>
                  <a:gd name="connsiteX2" fmla="*/ 14481 w 121073"/>
                  <a:gd name="connsiteY2" fmla="*/ 442655 h 442655"/>
                  <a:gd name="connsiteX3" fmla="*/ 23514 w 121073"/>
                  <a:gd name="connsiteY3" fmla="*/ 439042 h 442655"/>
                  <a:gd name="connsiteX4" fmla="*/ 121073 w 121073"/>
                  <a:gd name="connsiteY4" fmla="*/ 221342 h 442655"/>
                  <a:gd name="connsiteX5" fmla="*/ 23514 w 121073"/>
                  <a:gd name="connsiteY5" fmla="*/ 3641 h 442655"/>
                  <a:gd name="connsiteX6" fmla="*/ 3641 w 121073"/>
                  <a:gd name="connsiteY6" fmla="*/ 4544 h 442655"/>
                  <a:gd name="connsiteX7" fmla="*/ 4545 w 121073"/>
                  <a:gd name="connsiteY7" fmla="*/ 24418 h 442655"/>
                  <a:gd name="connsiteX8" fmla="*/ 93070 w 121073"/>
                  <a:gd name="connsiteY8" fmla="*/ 221342 h 442655"/>
                  <a:gd name="connsiteX9" fmla="*/ 5448 w 121073"/>
                  <a:gd name="connsiteY9" fmla="*/ 418266 h 44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073" h="442655">
                    <a:moveTo>
                      <a:pt x="5448" y="418266"/>
                    </a:moveTo>
                    <a:cubicBezTo>
                      <a:pt x="28" y="423686"/>
                      <a:pt x="-875" y="431816"/>
                      <a:pt x="4545" y="438139"/>
                    </a:cubicBezTo>
                    <a:cubicBezTo>
                      <a:pt x="7255" y="440849"/>
                      <a:pt x="10868" y="442655"/>
                      <a:pt x="14481" y="442655"/>
                    </a:cubicBezTo>
                    <a:cubicBezTo>
                      <a:pt x="18094" y="442655"/>
                      <a:pt x="20804" y="441752"/>
                      <a:pt x="23514" y="439042"/>
                    </a:cubicBezTo>
                    <a:cubicBezTo>
                      <a:pt x="85843" y="383939"/>
                      <a:pt x="121073" y="304447"/>
                      <a:pt x="121073" y="221342"/>
                    </a:cubicBezTo>
                    <a:cubicBezTo>
                      <a:pt x="121073" y="138236"/>
                      <a:pt x="85843" y="58744"/>
                      <a:pt x="23514" y="3641"/>
                    </a:cubicBezTo>
                    <a:cubicBezTo>
                      <a:pt x="18094" y="-1778"/>
                      <a:pt x="9061" y="-875"/>
                      <a:pt x="3641" y="4544"/>
                    </a:cubicBezTo>
                    <a:cubicBezTo>
                      <a:pt x="-1779" y="9965"/>
                      <a:pt x="-875" y="18998"/>
                      <a:pt x="4545" y="24418"/>
                    </a:cubicBezTo>
                    <a:cubicBezTo>
                      <a:pt x="60551" y="74100"/>
                      <a:pt x="93070" y="146366"/>
                      <a:pt x="93070" y="221342"/>
                    </a:cubicBezTo>
                    <a:cubicBezTo>
                      <a:pt x="93070" y="296318"/>
                      <a:pt x="61454" y="368583"/>
                      <a:pt x="5448" y="418266"/>
                    </a:cubicBezTo>
                    <a:close/>
                  </a:path>
                </a:pathLst>
              </a:custGeom>
              <a:grpFill/>
              <a:ln w="9028" cap="flat">
                <a:noFill/>
                <a:prstDash val="solid"/>
                <a:miter/>
              </a:ln>
            </p:spPr>
            <p:txBody>
              <a:bodyPr rtlCol="0" anchor="ctr"/>
              <a:lstStyle/>
              <a:p>
                <a:endParaRPr lang="en-US"/>
              </a:p>
            </p:txBody>
          </p:sp>
          <p:sp>
            <p:nvSpPr>
              <p:cNvPr id="12" name="Freeform 220">
                <a:extLst>
                  <a:ext uri="{FF2B5EF4-FFF2-40B4-BE49-F238E27FC236}">
                    <a16:creationId xmlns:a16="http://schemas.microsoft.com/office/drawing/2014/main" id="{6B098B37-6882-150D-EB2F-2ABB372653B4}"/>
                  </a:ext>
                </a:extLst>
              </p:cNvPr>
              <p:cNvSpPr/>
              <p:nvPr/>
            </p:nvSpPr>
            <p:spPr>
              <a:xfrm>
                <a:off x="6099443" y="2370217"/>
                <a:ext cx="125106" cy="32465"/>
              </a:xfrm>
              <a:custGeom>
                <a:avLst/>
                <a:gdLst>
                  <a:gd name="connsiteX0" fmla="*/ 16358 w 125106"/>
                  <a:gd name="connsiteY0" fmla="*/ 30658 h 32465"/>
                  <a:gd name="connsiteX1" fmla="*/ 108497 w 125106"/>
                  <a:gd name="connsiteY1" fmla="*/ 32465 h 32465"/>
                  <a:gd name="connsiteX2" fmla="*/ 111207 w 125106"/>
                  <a:gd name="connsiteY2" fmla="*/ 32465 h 32465"/>
                  <a:gd name="connsiteX3" fmla="*/ 124757 w 125106"/>
                  <a:gd name="connsiteY3" fmla="*/ 21625 h 32465"/>
                  <a:gd name="connsiteX4" fmla="*/ 113917 w 125106"/>
                  <a:gd name="connsiteY4" fmla="*/ 5365 h 32465"/>
                  <a:gd name="connsiteX5" fmla="*/ 11842 w 125106"/>
                  <a:gd name="connsiteY5" fmla="*/ 3559 h 32465"/>
                  <a:gd name="connsiteX6" fmla="*/ 99 w 125106"/>
                  <a:gd name="connsiteY6" fmla="*/ 19818 h 32465"/>
                  <a:gd name="connsiteX7" fmla="*/ 16358 w 125106"/>
                  <a:gd name="connsiteY7" fmla="*/ 30658 h 32465"/>
                  <a:gd name="connsiteX8" fmla="*/ 16358 w 125106"/>
                  <a:gd name="connsiteY8" fmla="*/ 3065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6" h="32465">
                    <a:moveTo>
                      <a:pt x="16358" y="30658"/>
                    </a:moveTo>
                    <a:cubicBezTo>
                      <a:pt x="47071" y="26142"/>
                      <a:pt x="78687" y="27045"/>
                      <a:pt x="108497" y="32465"/>
                    </a:cubicBezTo>
                    <a:cubicBezTo>
                      <a:pt x="109400" y="32465"/>
                      <a:pt x="110304" y="32465"/>
                      <a:pt x="111207" y="32465"/>
                    </a:cubicBezTo>
                    <a:cubicBezTo>
                      <a:pt x="117530" y="32465"/>
                      <a:pt x="123853" y="27949"/>
                      <a:pt x="124757" y="21625"/>
                    </a:cubicBezTo>
                    <a:cubicBezTo>
                      <a:pt x="126564" y="14399"/>
                      <a:pt x="121144" y="7172"/>
                      <a:pt x="113917" y="5365"/>
                    </a:cubicBezTo>
                    <a:cubicBezTo>
                      <a:pt x="80494" y="-958"/>
                      <a:pt x="45265" y="-1861"/>
                      <a:pt x="11842" y="3559"/>
                    </a:cubicBezTo>
                    <a:cubicBezTo>
                      <a:pt x="4615" y="4462"/>
                      <a:pt x="-805" y="11689"/>
                      <a:pt x="99" y="19818"/>
                    </a:cubicBezTo>
                    <a:cubicBezTo>
                      <a:pt x="1002" y="27949"/>
                      <a:pt x="8228" y="31562"/>
                      <a:pt x="16358" y="30658"/>
                    </a:cubicBezTo>
                    <a:lnTo>
                      <a:pt x="16358" y="30658"/>
                    </a:lnTo>
                    <a:close/>
                  </a:path>
                </a:pathLst>
              </a:custGeom>
              <a:grpFill/>
              <a:ln w="902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18946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18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1800" b="1" dirty="0"/>
              <a:t>: </a:t>
            </a:r>
            <a:r>
              <a:rPr lang="en-GB" sz="1800" dirty="0"/>
              <a:t>Agile Methoden fördern Innovation und nachhaltige industrielle Entwicklung, verbessern die Infrastruktur und schaffen eine integrative Industrialisierung.</a:t>
            </a:r>
          </a:p>
          <a:p>
            <a:pPr algn="just"/>
            <a:endParaRPr lang="en-GB" sz="1800" dirty="0"/>
          </a:p>
          <a:p>
            <a:pPr algn="just"/>
            <a:r>
              <a:rPr lang="en-GB" sz="1800" b="1" dirty="0">
                <a:solidFill>
                  <a:srgbClr val="0F486D"/>
                </a:solidFill>
                <a:hlinkClick r:id="rId3">
                  <a:extLst>
                    <a:ext uri="{A12FA001-AC4F-418D-AE19-62706E023703}">
                      <ahyp:hlinkClr xmlns:ahyp="http://schemas.microsoft.com/office/drawing/2018/hyperlinkcolor" val="tx"/>
                    </a:ext>
                  </a:extLst>
                </a:hlinkClick>
              </a:rPr>
              <a:t>SDG 11: Nachhaltige Städte und Gemeinden</a:t>
            </a:r>
            <a:r>
              <a:rPr lang="en-GB" sz="1800" b="1" dirty="0"/>
              <a:t>: </a:t>
            </a:r>
            <a:r>
              <a:rPr lang="en-GB" sz="1800" dirty="0"/>
              <a:t>Agile fördert eine widerstandsfähige, integrative und nachhaltige Stadtentwicklung durch adaptive Planung und kooperative Praktiken.</a:t>
            </a:r>
          </a:p>
          <a:p>
            <a:pPr algn="just"/>
            <a:endParaRPr lang="en-GB" sz="1800" dirty="0"/>
          </a:p>
          <a:p>
            <a:pPr algn="just"/>
            <a:r>
              <a:rPr lang="en-GB" sz="1800" b="1" dirty="0">
                <a:solidFill>
                  <a:srgbClr val="0F486D"/>
                </a:solidFill>
                <a:hlinkClick r:id="rId4">
                  <a:extLst>
                    <a:ext uri="{A12FA001-AC4F-418D-AE19-62706E023703}">
                      <ahyp:hlinkClr xmlns:ahyp="http://schemas.microsoft.com/office/drawing/2018/hyperlinkcolor" val="tx"/>
                    </a:ext>
                  </a:extLst>
                </a:hlinkClick>
              </a:rPr>
              <a:t>EntreComp Rahmenwerk: 1.2 Kreativität</a:t>
            </a:r>
            <a:r>
              <a:rPr lang="en-GB" sz="1800" b="1" dirty="0"/>
              <a:t>: </a:t>
            </a:r>
            <a:r>
              <a:rPr lang="en-GB" sz="1800" dirty="0"/>
              <a:t>Agile Methoden fördern die Kreativität und das innovative Denken, das für eine nachhaltige Entwicklung unerlässlich ist.</a:t>
            </a:r>
          </a:p>
          <a:p>
            <a:pPr algn="just"/>
            <a:endParaRPr lang="en-GB" sz="1600" dirty="0"/>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644867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047F00-24F6-19FA-6672-29BF918D0313}"/>
              </a:ext>
            </a:extLst>
          </p:cNvPr>
          <p:cNvGraphicFramePr>
            <a:graphicFrameLocks noChangeAspect="1"/>
          </p:cNvGraphicFramePr>
          <p:nvPr>
            <p:custDataLst>
              <p:tags r:id="rId1"/>
            </p:custDataLst>
            <p:extLst>
              <p:ext uri="{D42A27DB-BD31-4B8C-83A1-F6EECF244321}">
                <p14:modId xmlns:p14="http://schemas.microsoft.com/office/powerpoint/2010/main" val="398513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982327-7DA2-6FF6-9D17-B739DEB15479}"/>
              </a:ext>
            </a:extLst>
          </p:cNvPr>
          <p:cNvSpPr>
            <a:spLocks noGrp="1"/>
          </p:cNvSpPr>
          <p:nvPr>
            <p:ph type="body" sz="quarter" idx="48"/>
          </p:nvPr>
        </p:nvSpPr>
        <p:spPr>
          <a:xfrm>
            <a:off x="5232400" y="1388533"/>
            <a:ext cx="6333393" cy="4456213"/>
          </a:xfrm>
        </p:spPr>
        <p:txBody>
          <a:bodyPr/>
          <a:lstStyle/>
          <a:p>
            <a:pPr marL="0" marR="0" lvl="0" indent="0" algn="just" defTabSz="334328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Kanban Board Workshop </a:t>
            </a:r>
          </a:p>
          <a:p>
            <a:pPr marL="0" marR="0" lvl="0" indent="0" algn="just"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Zielsetzung: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Demonstration der Grundsätze des visuellen Managements und der Workflow-Optimierung.</a:t>
            </a:r>
          </a:p>
          <a:p>
            <a:pPr marL="0" marR="0" lvl="0" indent="0" algn="just"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inricht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Verwenden Sie eine leere Tafel mit Spalten: Zu erledigen, In Arbeit, Erledigt</a:t>
            </a:r>
          </a:p>
          <a:p>
            <a:pPr marL="0" marR="0" lvl="0" indent="0" algn="just"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Aufgabenbeispiele: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Wählen Sie Beispiele für Projektaktivitäten (z. B. "Landing Page entwickeln", "Marketingmaterialien überprüfen", "Neue Funktion testen"), um Aufgaben darzustellen.</a:t>
            </a:r>
          </a:p>
          <a:p>
            <a:pPr marL="0" marR="0" lvl="0" indent="0" algn="just"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Ablauf: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Die Teilnehmer wählen Aufgabenbeispiele aus, ordnen sie nach Prioritäten und platzieren sie in der entsprechenden Spalte auf der Kanban-Tafel. Mit dem Fortschreiten der Arbeit werden die Aufgabenbeispiele entsprechend durch die Phasen verschoben. </a:t>
            </a:r>
          </a:p>
          <a:p>
            <a:pPr marL="0" marR="0" lvl="0" indent="0" algn="just"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Diskussio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rmutigen Sie die Teilnehmer, darüber nachzudenken, wie sich die Visualisierung von Arbeitsabläufen auf das Projektmanagement auswirkt. </a:t>
            </a:r>
            <a:endParaRPr kumimoji="0" lang="en-US"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endParaRPr>
          </a:p>
          <a:p>
            <a:endParaRPr lang="en-IE" sz="1800" dirty="0"/>
          </a:p>
        </p:txBody>
      </p:sp>
      <p:pic>
        <p:nvPicPr>
          <p:cNvPr id="2" name="Picture Placeholder 5" descr="Two cute robots">
            <a:extLst>
              <a:ext uri="{FF2B5EF4-FFF2-40B4-BE49-F238E27FC236}">
                <a16:creationId xmlns:a16="http://schemas.microsoft.com/office/drawing/2014/main" id="{B82C8272-9966-54F3-92E0-B7CB0A092FB4}"/>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20638" y="0"/>
            <a:ext cx="4994275" cy="6858000"/>
          </a:xfrm>
        </p:spPr>
      </p:pic>
      <p:sp>
        <p:nvSpPr>
          <p:cNvPr id="3" name="Text Placeholder 2">
            <a:extLst>
              <a:ext uri="{FF2B5EF4-FFF2-40B4-BE49-F238E27FC236}">
                <a16:creationId xmlns:a16="http://schemas.microsoft.com/office/drawing/2014/main" id="{04293CCF-4DD6-3D82-F0E1-41D3C18B9060}"/>
              </a:ext>
            </a:extLst>
          </p:cNvPr>
          <p:cNvSpPr>
            <a:spLocks noGrp="1"/>
          </p:cNvSpPr>
          <p:nvPr>
            <p:ph type="body" sz="quarter" idx="30"/>
          </p:nvPr>
        </p:nvSpPr>
        <p:spPr>
          <a:xfrm>
            <a:off x="4247329" y="317364"/>
            <a:ext cx="6776598" cy="842867"/>
          </a:xfrm>
        </p:spPr>
        <p:txBody>
          <a:bodyPr/>
          <a:lstStyle/>
          <a:p>
            <a:r>
              <a:rPr lang="en-IE" dirty="0"/>
              <a:t>VORGESCHLAGENE PRAKTISCHE ÜBUNG</a:t>
            </a:r>
          </a:p>
        </p:txBody>
      </p:sp>
    </p:spTree>
    <p:extLst>
      <p:ext uri="{BB962C8B-B14F-4D97-AF65-F5344CB8AC3E}">
        <p14:creationId xmlns:p14="http://schemas.microsoft.com/office/powerpoint/2010/main" val="10123617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210301" y="313704"/>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316116" y="984186"/>
            <a:ext cx="5387222" cy="5050176"/>
          </a:xfrm>
        </p:spPr>
        <p:txBody>
          <a:bodyPr/>
          <a:lstStyle/>
          <a:p>
            <a:pPr algn="just"/>
            <a:r>
              <a:rPr lang="en-GB" sz="2200" dirty="0"/>
              <a:t>Um Ihr Verständnis für den Ansatz der agilen Methodik und seine Anwendung in nachhaltigen Geschäftspraktiken zu vertiefen, sollten Sie sich die folgenden Ressourcen ansehen:</a:t>
            </a:r>
          </a:p>
          <a:p>
            <a:pPr algn="just"/>
            <a:endParaRPr lang="en-GB" sz="2200" dirty="0"/>
          </a:p>
          <a:p>
            <a:pPr algn="just"/>
            <a:r>
              <a:rPr lang="en-GB" sz="2200" b="1" dirty="0">
                <a:hlinkClick r:id="rId2"/>
              </a:rPr>
              <a:t>Was ist Scrum? </a:t>
            </a:r>
            <a:endParaRPr lang="en-GB" sz="2200" b="1" dirty="0"/>
          </a:p>
          <a:p>
            <a:pPr algn="just"/>
            <a:endParaRPr lang="en-GB" sz="2200" dirty="0"/>
          </a:p>
          <a:p>
            <a:pPr algn="just"/>
            <a:r>
              <a:rPr lang="en-GB" sz="2200" b="1" dirty="0">
                <a:hlinkClick r:id="rId3"/>
              </a:rPr>
              <a:t>Was ist Agile?  </a:t>
            </a:r>
            <a:endParaRPr lang="en-GB" sz="2200" b="1" dirty="0"/>
          </a:p>
          <a:p>
            <a:pPr algn="just"/>
            <a:endParaRPr lang="en-GB" sz="2200" b="1" dirty="0"/>
          </a:p>
          <a:p>
            <a:pPr algn="just"/>
            <a:r>
              <a:rPr lang="en-GB" sz="2200" b="1" dirty="0">
                <a:hlinkClick r:id="rId4"/>
              </a:rPr>
              <a:t>Strategische Planung, der agile Weg:</a:t>
            </a:r>
            <a:endParaRPr lang="en-GB" sz="2200" b="1" dirty="0"/>
          </a:p>
          <a:p>
            <a:pPr algn="just"/>
            <a:endParaRPr lang="en-GB" sz="2200" dirty="0"/>
          </a:p>
          <a:p>
            <a:pPr algn="just"/>
            <a:r>
              <a:rPr lang="en-GB" sz="2200" b="1" dirty="0">
                <a:hlinkClick r:id="rId5"/>
              </a:rPr>
              <a:t>Was ist Kanban?</a:t>
            </a:r>
            <a:endParaRPr lang="en-IE" sz="2200" b="1" dirty="0"/>
          </a:p>
        </p:txBody>
      </p:sp>
      <p:pic>
        <p:nvPicPr>
          <p:cNvPr id="2" name="Picture Placeholder 5">
            <a:extLst>
              <a:ext uri="{FF2B5EF4-FFF2-40B4-BE49-F238E27FC236}">
                <a16:creationId xmlns:a16="http://schemas.microsoft.com/office/drawing/2014/main" id="{660D4DFA-DA97-41F9-3FE5-5562063E4D81}"/>
              </a:ext>
            </a:extLst>
          </p:cNvPr>
          <p:cNvPicPr>
            <a:picLocks noGrp="1" noChangeAspect="1"/>
          </p:cNvPicPr>
          <p:nvPr>
            <p:ph type="pic" sz="quarter" idx="21"/>
          </p:nvPr>
        </p:nvPicPr>
        <p:blipFill>
          <a:blip r:embed="rId6"/>
          <a:srcRect l="11877" r="11877"/>
          <a:stretch>
            <a:fillRect/>
          </a:stretch>
        </p:blipFill>
        <p:spPr>
          <a:xfrm>
            <a:off x="0" y="0"/>
            <a:ext cx="5875338" cy="6858000"/>
          </a:xfrm>
        </p:spPr>
      </p:pic>
    </p:spTree>
    <p:extLst>
      <p:ext uri="{BB962C8B-B14F-4D97-AF65-F5344CB8AC3E}">
        <p14:creationId xmlns:p14="http://schemas.microsoft.com/office/powerpoint/2010/main" val="1869586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4D6227-7C69-4337-22AE-B25658788E3D}"/>
              </a:ext>
            </a:extLst>
          </p:cNvPr>
          <p:cNvGraphicFramePr>
            <a:graphicFrameLocks noChangeAspect="1"/>
          </p:cNvGraphicFramePr>
          <p:nvPr>
            <p:custDataLst>
              <p:tags r:id="rId1"/>
            </p:custDataLst>
            <p:extLst>
              <p:ext uri="{D42A27DB-BD31-4B8C-83A1-F6EECF244321}">
                <p14:modId xmlns:p14="http://schemas.microsoft.com/office/powerpoint/2010/main" val="79234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Empty speech bubbles">
            <a:extLst>
              <a:ext uri="{FF2B5EF4-FFF2-40B4-BE49-F238E27FC236}">
                <a16:creationId xmlns:a16="http://schemas.microsoft.com/office/drawing/2014/main" id="{417E6502-178B-3DDC-F227-3C8747F38F9F}"/>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33" b="683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Design Thinking</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ln>
                  <a:solidFill>
                    <a:sysClr val="windowText" lastClr="000000"/>
                  </a:solidFill>
                </a:ln>
              </a:rPr>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5996322" cy="223473"/>
          </a:xfrm>
        </p:spPr>
        <p:txBody>
          <a:bodyPr/>
          <a:lstStyle/>
          <a:p>
            <a:r>
              <a:rPr lang="en-US" sz="2000" dirty="0" err="1"/>
              <a:t>Einführung</a:t>
            </a:r>
            <a:r>
              <a:rPr lang="en-US" sz="2000" dirty="0"/>
              <a:t> Innovation für Nachhaltigkeit</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a:xfrm>
            <a:off x="3567808" y="2833690"/>
            <a:ext cx="7228823" cy="394494"/>
          </a:xfrm>
        </p:spPr>
        <p:txBody>
          <a:bodyPr/>
          <a:lstStyle/>
          <a:p>
            <a:r>
              <a:rPr lang="en-US" sz="2000" dirty="0"/>
              <a:t>Innovation und Anpassungsfähigkeit - Agile </a:t>
            </a:r>
            <a:r>
              <a:rPr lang="en-US" sz="2000" dirty="0" err="1"/>
              <a:t>Ansätze</a:t>
            </a:r>
            <a:endParaRPr lang="en-US" sz="2000" dirty="0"/>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sz="2000" dirty="0"/>
              <a:t>Design Thinking</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p:txBody>
          <a:bodyPr/>
          <a:lstStyle/>
          <a:p>
            <a:r>
              <a:rPr lang="en-US" sz="2000" dirty="0"/>
              <a:t>Technologie-Integration</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sz="2000" dirty="0"/>
              <a:t>Große Daten und Analytik</a:t>
            </a:r>
          </a:p>
        </p:txBody>
      </p:sp>
      <p:sp>
        <p:nvSpPr>
          <p:cNvPr id="19" name="Text Placeholder 18">
            <a:extLst>
              <a:ext uri="{FF2B5EF4-FFF2-40B4-BE49-F238E27FC236}">
                <a16:creationId xmlns:a16="http://schemas.microsoft.com/office/drawing/2014/main" id="{84367E26-76EA-4E40-9D99-7C3977776A6D}"/>
              </a:ext>
            </a:extLst>
          </p:cNvPr>
          <p:cNvSpPr>
            <a:spLocks noGrp="1"/>
          </p:cNvSpPr>
          <p:nvPr>
            <p:ph type="body" sz="quarter" idx="51"/>
          </p:nvPr>
        </p:nvSpPr>
        <p:spPr/>
        <p:txBody>
          <a:bodyPr/>
          <a:lstStyle/>
          <a:p>
            <a:r>
              <a:rPr lang="en-US" dirty="0"/>
              <a:t>06</a:t>
            </a:r>
          </a:p>
        </p:txBody>
      </p:sp>
      <p:sp>
        <p:nvSpPr>
          <p:cNvPr id="20" name="Text Placeholder 19">
            <a:extLst>
              <a:ext uri="{FF2B5EF4-FFF2-40B4-BE49-F238E27FC236}">
                <a16:creationId xmlns:a16="http://schemas.microsoft.com/office/drawing/2014/main" id="{E794E5C9-0EA8-BF47-A0AF-E0B7D9858292}"/>
              </a:ext>
            </a:extLst>
          </p:cNvPr>
          <p:cNvSpPr>
            <a:spLocks noGrp="1"/>
          </p:cNvSpPr>
          <p:nvPr>
            <p:ph type="body" sz="quarter" idx="52"/>
          </p:nvPr>
        </p:nvSpPr>
        <p:spPr/>
        <p:txBody>
          <a:bodyPr/>
          <a:lstStyle/>
          <a:p>
            <a:r>
              <a:rPr lang="en-US" sz="2000" dirty="0"/>
              <a:t>Umwelt- und Clean-Tech-Lösungen</a:t>
            </a:r>
          </a:p>
        </p:txBody>
      </p:sp>
      <p:sp>
        <p:nvSpPr>
          <p:cNvPr id="21" name="Text Placeholder 20">
            <a:extLst>
              <a:ext uri="{FF2B5EF4-FFF2-40B4-BE49-F238E27FC236}">
                <a16:creationId xmlns:a16="http://schemas.microsoft.com/office/drawing/2014/main" id="{78F19BA0-100A-BA42-BED3-4F4CB3AB15F7}"/>
              </a:ext>
            </a:extLst>
          </p:cNvPr>
          <p:cNvSpPr>
            <a:spLocks noGrp="1"/>
          </p:cNvSpPr>
          <p:nvPr>
            <p:ph type="body" sz="quarter" idx="53"/>
          </p:nvPr>
        </p:nvSpPr>
        <p:spPr/>
        <p:txBody>
          <a:bodyPr/>
          <a:lstStyle/>
          <a:p>
            <a:r>
              <a:rPr lang="en-US" dirty="0"/>
              <a:t>07</a:t>
            </a:r>
          </a:p>
        </p:txBody>
      </p:sp>
      <p:sp>
        <p:nvSpPr>
          <p:cNvPr id="22" name="Text Placeholder 21">
            <a:extLst>
              <a:ext uri="{FF2B5EF4-FFF2-40B4-BE49-F238E27FC236}">
                <a16:creationId xmlns:a16="http://schemas.microsoft.com/office/drawing/2014/main" id="{11D52E53-546D-EF42-A264-22D89E5373E9}"/>
              </a:ext>
            </a:extLst>
          </p:cNvPr>
          <p:cNvSpPr>
            <a:spLocks noGrp="1"/>
          </p:cNvSpPr>
          <p:nvPr>
            <p:ph type="body" sz="quarter" idx="54"/>
          </p:nvPr>
        </p:nvSpPr>
        <p:spPr/>
        <p:txBody>
          <a:bodyPr/>
          <a:lstStyle/>
          <a:p>
            <a:r>
              <a:rPr lang="en-US" sz="2000" dirty="0"/>
              <a:t>Sparsame Innovationen</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2BD40C-6ACA-9A24-4647-2D756EC43B34}"/>
              </a:ext>
            </a:extLst>
          </p:cNvPr>
          <p:cNvGraphicFramePr>
            <a:graphicFrameLocks noChangeAspect="1"/>
          </p:cNvGraphicFramePr>
          <p:nvPr>
            <p:custDataLst>
              <p:tags r:id="rId1"/>
            </p:custDataLst>
            <p:extLst>
              <p:ext uri="{D42A27DB-BD31-4B8C-83A1-F6EECF244321}">
                <p14:modId xmlns:p14="http://schemas.microsoft.com/office/powerpoint/2010/main" val="289735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0</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934181"/>
            <a:ext cx="5118256" cy="4271810"/>
          </a:xfrm>
        </p:spPr>
        <p:txBody>
          <a:bodyPr/>
          <a:lstStyle/>
          <a:p>
            <a:pPr algn="just"/>
            <a:r>
              <a:rPr lang="en-GB" sz="2400" dirty="0"/>
              <a:t>In diesem Abschnitt werden wir die Grundsätze des Design Thinking und des menschenzentrierten Designs behandeln. Diese Methoden konzentrieren sich auf </a:t>
            </a:r>
            <a:r>
              <a:rPr lang="en-GB" sz="2400" b="1" dirty="0"/>
              <a:t>Empathie, Definition, Ideenfindung, Prototyping und Testen</a:t>
            </a:r>
            <a:r>
              <a:rPr lang="en-GB" sz="2400" dirty="0"/>
              <a:t>, um innovative Lösungen für die Herausforderungen der Nachhaltigkeit zu schaffen. </a:t>
            </a:r>
          </a:p>
          <a:p>
            <a:pPr algn="just"/>
            <a:endParaRPr lang="en-GB" sz="2400" dirty="0"/>
          </a:p>
          <a:p>
            <a:pPr algn="just"/>
            <a:r>
              <a:rPr lang="en-GB" sz="2400" dirty="0"/>
              <a:t>Wenn Unternehmen diese Grundsätze verstehen und anwenden, können sie die Bedürfnisse der Nutzer besser erkennen und wirkungsvolle, nachhaltige Lösungen entwickeln.</a:t>
            </a:r>
          </a:p>
        </p:txBody>
      </p:sp>
      <p:pic>
        <p:nvPicPr>
          <p:cNvPr id="2" name="Picture Placeholder 8" descr="Small, medium, and large light bulbs on top of boxes">
            <a:extLst>
              <a:ext uri="{FF2B5EF4-FFF2-40B4-BE49-F238E27FC236}">
                <a16:creationId xmlns:a16="http://schemas.microsoft.com/office/drawing/2014/main" id="{54EE30B5-8DF7-5DCD-A4FF-55656C9701A8}"/>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8" r="2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1220938"/>
          </a:xfrm>
        </p:spPr>
        <p:txBody>
          <a:bodyPr/>
          <a:lstStyle/>
          <a:p>
            <a:r>
              <a:rPr lang="en-US" dirty="0"/>
              <a:t>DESIGN THINKING FÜR NACHHALTIGE LÖSUNGEN</a:t>
            </a:r>
          </a:p>
        </p:txBody>
      </p:sp>
    </p:spTree>
    <p:extLst>
      <p:ext uri="{BB962C8B-B14F-4D97-AF65-F5344CB8AC3E}">
        <p14:creationId xmlns:p14="http://schemas.microsoft.com/office/powerpoint/2010/main" val="2714856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728445" y="931500"/>
            <a:ext cx="10483429" cy="4439577"/>
          </a:xfrm>
        </p:spPr>
        <p:txBody>
          <a:bodyPr/>
          <a:lstStyle/>
          <a:p>
            <a:pPr algn="just">
              <a:spcAft>
                <a:spcPts val="600"/>
              </a:spcAft>
            </a:pPr>
            <a:r>
              <a:rPr lang="en-GB" sz="3200" b="1" dirty="0">
                <a:highlight>
                  <a:srgbClr val="60BA47"/>
                </a:highlight>
              </a:rPr>
              <a:t>Design Thinking </a:t>
            </a:r>
            <a:r>
              <a:rPr lang="en-GB" sz="2000" dirty="0"/>
              <a:t>basiert auf mehreren Grundprinzipien, die den Problemlösungsansatz bestimmen. Im Kern steht beim Design Thinking der Mensch im Mittelpunkt, wobei die Empathie für die Nutzer ein grundlegendes Prinzip darstellt. Dazu gehört ein tiefes Verständnis der Bedürfnisse, Wünsche und Verhaltensweisen der Nutzer durch Methoden wie Beobachtungen, Interviews und Übungen zum Aufbau von Empathie. </a:t>
            </a:r>
          </a:p>
          <a:p>
            <a:pPr algn="just">
              <a:spcAft>
                <a:spcPts val="600"/>
              </a:spcAft>
            </a:pPr>
            <a:r>
              <a:rPr lang="en-GB" sz="2000" dirty="0"/>
              <a:t>Verfeinerung ist ein weiteres Schlüsselprinzip, das einen Prozess der kontinuierlichen Verfeinerung durch Prototyping und Testen hervorhebt. Durch die Anpassung von Ideen auf der Grundlage von Nutzerfeedback stellt Design Thinking sicher, dass sich die Lösungen weiterentwickeln, um die Bedürfnisse der Nutzer besser zu erfüllen und mit den Unternehmenszielen in Einklang zu bringen. </a:t>
            </a:r>
          </a:p>
          <a:p>
            <a:pPr algn="just">
              <a:spcAft>
                <a:spcPts val="600"/>
              </a:spcAft>
            </a:pPr>
            <a:r>
              <a:rPr lang="en-GB" sz="2000" dirty="0"/>
              <a:t>Die Zusammenarbeit spielt eine entscheidende Rolle, da sie multidisziplinäre Teams dazu ermutigt, unterschiedliche Perspektiven und Fachkenntnisse zu nutzen. Dieser kooperative Ansatz fördert innovatives Denken und ganzheitliche Problemlösungen durch die Integration von Erkenntnissen aus verschiedenen Disziplinen. </a:t>
            </a:r>
          </a:p>
        </p:txBody>
      </p:sp>
    </p:spTree>
    <p:extLst>
      <p:ext uri="{BB962C8B-B14F-4D97-AF65-F5344CB8AC3E}">
        <p14:creationId xmlns:p14="http://schemas.microsoft.com/office/powerpoint/2010/main" val="975074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Einfühlungsvermöge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883479"/>
            <a:ext cx="7160273" cy="945874"/>
          </a:xfrm>
        </p:spPr>
        <p:txBody>
          <a:bodyPr/>
          <a:lstStyle/>
          <a:p>
            <a:pPr algn="just"/>
            <a:r>
              <a:rPr lang="en-GB" sz="1600" dirty="0"/>
              <a:t>In der Einfühlungsphase taucht man in die Umgebung des Benutzers ein, um seine Bedürfnisse, sein Verhalten und seine Emotionen genau zu verstehen. Techniken wie Forschung, Nutzerinterviews und Empathiekarten helfen den Teams, Empathie aufzubauen und qualitative Daten zu sammeln, die in die nachfolgenden Phasen einfließ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p:txBody>
          <a:bodyPr/>
          <a:lstStyle/>
          <a:p>
            <a:r>
              <a:rPr lang="en-IE" dirty="0" err="1"/>
              <a:t>Definieren</a:t>
            </a:r>
            <a:endParaRPr lang="en-IE" dirty="0"/>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04200" y="3000232"/>
            <a:ext cx="7160273" cy="945874"/>
          </a:xfrm>
        </p:spPr>
        <p:txBody>
          <a:bodyPr/>
          <a:lstStyle/>
          <a:p>
            <a:pPr algn="just"/>
            <a:r>
              <a:rPr lang="en-GB" sz="1600" dirty="0"/>
              <a:t>Mit den Erkenntnissen, die aus dem Einfühlungsvermögen in die Nutzer gewonnen wurden, definieren die Teams die Problemstellung. In dieser Phase werden die Beobachtungen ausgewertet und die zentralen Herausforderungen oder Chancen identifiziert, die es anzugehen gilt. Die Definition des Problems verdeutlicht den Fokus und richtet die Bemühungen des Teams auf eine sinnvolle Problemlösung aus.</a:t>
            </a:r>
            <a:endParaRPr lang="en-IE" sz="16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p:txBody>
          <a:bodyPr/>
          <a:lstStyle/>
          <a:p>
            <a:r>
              <a:rPr lang="en-IE" dirty="0"/>
              <a:t>Ideen</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04200" y="5108297"/>
            <a:ext cx="7160273" cy="945874"/>
          </a:xfrm>
        </p:spPr>
        <p:txBody>
          <a:bodyPr/>
          <a:lstStyle/>
          <a:p>
            <a:pPr algn="just"/>
            <a:r>
              <a:rPr lang="en-GB" sz="1600" dirty="0"/>
              <a:t>Die Ideenfindung ist eine kreative Phase, in der Teams ein breites Spektrum an potenziellen Lösungen entwickeln. Durch den Verzicht auf ein Urteil und die Berücksichtigung verschiedener Perspektiven erkunden Teams unkonventionelle Ideen und entwickeln innovative Lösungen. Techniken wie Brainstorming, Mind Mapping und Rollenspiele erleichtern das kreative Denken und die Ideenfindung.</a:t>
            </a:r>
            <a:endParaRPr lang="en-IE" sz="1600" dirty="0"/>
          </a:p>
        </p:txBody>
      </p:sp>
      <p:pic>
        <p:nvPicPr>
          <p:cNvPr id="8" name="Picture Placeholder 11" descr="Large and small hands holding red heart">
            <a:extLst>
              <a:ext uri="{FF2B5EF4-FFF2-40B4-BE49-F238E27FC236}">
                <a16:creationId xmlns:a16="http://schemas.microsoft.com/office/drawing/2014/main" id="{0FDABE50-6F45-875E-E71D-2F7E7AC3D62C}"/>
              </a:ext>
            </a:extLst>
          </p:cNvPr>
          <p:cNvPicPr>
            <a:picLocks noGrp="1" noChangeAspect="1"/>
          </p:cNvPicPr>
          <p:nvPr>
            <p:ph type="pic" sz="quarter" idx="57"/>
          </p:nvPr>
        </p:nvPicPr>
        <p:blipFill rotWithShape="1">
          <a:blip r:embed="rId2" cstate="email">
            <a:extLst>
              <a:ext uri="{28A0092B-C50C-407E-A947-70E740481C1C}">
                <a14:useLocalDpi xmlns:a14="http://schemas.microsoft.com/office/drawing/2010/main"/>
              </a:ext>
            </a:extLst>
          </a:blip>
          <a:srcRect l="17821" r="17821"/>
          <a:stretch/>
        </p:blipFill>
        <p:spPr>
          <a:xfrm>
            <a:off x="1449388" y="409575"/>
            <a:ext cx="1839912" cy="1608138"/>
          </a:xfrm>
          <a:ln>
            <a:solidFill>
              <a:schemeClr val="tx1"/>
            </a:solidFill>
          </a:ln>
        </p:spPr>
      </p:pic>
      <p:pic>
        <p:nvPicPr>
          <p:cNvPr id="10" name="Picture Placeholder 13" descr="Scientist viewing DNA test results on a computer screen in the laboratory">
            <a:extLst>
              <a:ext uri="{FF2B5EF4-FFF2-40B4-BE49-F238E27FC236}">
                <a16:creationId xmlns:a16="http://schemas.microsoft.com/office/drawing/2014/main" id="{C8C63673-6C57-81A9-490E-6B20FA3EBC8F}"/>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7794" r="7794"/>
          <a:stretch>
            <a:fillRect/>
          </a:stretch>
        </p:blipFill>
        <p:spPr>
          <a:xfrm>
            <a:off x="1449388" y="2506663"/>
            <a:ext cx="1839912" cy="1608137"/>
          </a:xfrm>
          <a:ln>
            <a:solidFill>
              <a:schemeClr val="tx1"/>
            </a:solidFill>
          </a:ln>
        </p:spPr>
      </p:pic>
      <p:pic>
        <p:nvPicPr>
          <p:cNvPr id="12" name="Picture Placeholder 15" descr="One glowing light bulb among rows of unlit bulbs">
            <a:extLst>
              <a:ext uri="{FF2B5EF4-FFF2-40B4-BE49-F238E27FC236}">
                <a16:creationId xmlns:a16="http://schemas.microsoft.com/office/drawing/2014/main" id="{781B4840-60A0-1363-0324-57395538AFE0}"/>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7095" r="7095"/>
          <a:stretch>
            <a:fillRect/>
          </a:stretch>
        </p:blipFill>
        <p:spPr>
          <a:xfrm>
            <a:off x="1449388" y="4603750"/>
            <a:ext cx="1839912" cy="1608138"/>
          </a:xfrm>
          <a:ln>
            <a:solidFill>
              <a:schemeClr val="tx1"/>
            </a:solidFill>
          </a:ln>
        </p:spPr>
      </p:pic>
    </p:spTree>
    <p:extLst>
      <p:ext uri="{BB962C8B-B14F-4D97-AF65-F5344CB8AC3E}">
        <p14:creationId xmlns:p14="http://schemas.microsoft.com/office/powerpoint/2010/main" val="2852152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p:txBody>
          <a:bodyPr/>
          <a:lstStyle/>
          <a:p>
            <a:r>
              <a:rPr lang="en-IE" dirty="0" err="1"/>
              <a:t>Prototypen</a:t>
            </a:r>
            <a:endParaRPr lang="en-IE" dirty="0"/>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79841" y="1584007"/>
            <a:ext cx="7160273" cy="945874"/>
          </a:xfrm>
        </p:spPr>
        <p:txBody>
          <a:bodyPr/>
          <a:lstStyle/>
          <a:p>
            <a:pPr algn="just"/>
            <a:r>
              <a:rPr lang="en-GB" sz="1800" dirty="0"/>
              <a:t>Beim Prototyping geht es um die Erstellung greifbarer Darstellungen ausgewählter Ideen. Diese verkleinerten Versionen, die von Skizzen bis zu funktionalen Modellen reichen, ermöglichen es den Teams, Konzepte effektiv zu visualisieren und zu kommunizieren. Prototypen dienen als Artefakte zum Testen von Hypothesen und zum Sammeln von Feedback von Nutzern, das in weitere Iterationen einfließt.</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Testen</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79841" y="4212089"/>
            <a:ext cx="7160273" cy="945874"/>
          </a:xfrm>
        </p:spPr>
        <p:txBody>
          <a:bodyPr/>
          <a:lstStyle/>
          <a:p>
            <a:pPr algn="just"/>
            <a:r>
              <a:rPr lang="en-GB" sz="1800" dirty="0"/>
              <a:t>Testen ist eine kritische Phase, in der Prototypen von Benutzern in realen Szenarien bewertet werden. Durch Usability-Tests, Benutzer-Feedback-Sitzungen und iterative Verfeinerungszyklen validieren die Teams Annahmen und verfeinern Lösungen auf der Grundlage der tatsächlichen Benutzererfahrungen. Durch das Testen wird sichergestellt, dass die Lösungen die Bedürfnisse der Benutzer effektiv erfüllen und mit den Unternehmenszielen übereinstimmen.</a:t>
            </a:r>
          </a:p>
        </p:txBody>
      </p:sp>
      <p:pic>
        <p:nvPicPr>
          <p:cNvPr id="6" name="Picture Placeholder 8" descr="Engineer using tablet in factory with industrial robots">
            <a:extLst>
              <a:ext uri="{FF2B5EF4-FFF2-40B4-BE49-F238E27FC236}">
                <a16:creationId xmlns:a16="http://schemas.microsoft.com/office/drawing/2014/main" id="{74CB460B-B8A0-478C-F2D8-F99BB3554E4E}"/>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72" r="11872"/>
          <a:stretch>
            <a:fillRect/>
          </a:stretch>
        </p:blipFill>
        <p:spPr>
          <a:xfrm>
            <a:off x="1436688" y="984250"/>
            <a:ext cx="1839912" cy="1608138"/>
          </a:xfrm>
        </p:spPr>
      </p:pic>
      <p:pic>
        <p:nvPicPr>
          <p:cNvPr id="8" name="Picture Placeholder 10" descr="Person using microscope">
            <a:extLst>
              <a:ext uri="{FF2B5EF4-FFF2-40B4-BE49-F238E27FC236}">
                <a16:creationId xmlns:a16="http://schemas.microsoft.com/office/drawing/2014/main" id="{94D153B1-B814-EEC0-2387-6011792ACAC8}"/>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21954" r="21954"/>
          <a:stretch>
            <a:fillRect/>
          </a:stretch>
        </p:blipFill>
        <p:spPr>
          <a:xfrm>
            <a:off x="1436688" y="3657600"/>
            <a:ext cx="1839912" cy="1608138"/>
          </a:xfrm>
        </p:spPr>
      </p:pic>
    </p:spTree>
    <p:extLst>
      <p:ext uri="{BB962C8B-B14F-4D97-AF65-F5344CB8AC3E}">
        <p14:creationId xmlns:p14="http://schemas.microsoft.com/office/powerpoint/2010/main" val="2453771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454742"/>
            <a:ext cx="10483431" cy="804265"/>
          </a:xfrm>
        </p:spPr>
        <p:txBody>
          <a:bodyPr/>
          <a:lstStyle/>
          <a:p>
            <a:r>
              <a:rPr lang="en-GB" sz="3200" dirty="0"/>
              <a:t>ANWENDUNG VON DESIGN THINKING AUF NACHHALTIGKEIT</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461394" y="1259007"/>
            <a:ext cx="10876315" cy="4439577"/>
          </a:xfrm>
        </p:spPr>
        <p:txBody>
          <a:bodyPr/>
          <a:lstStyle/>
          <a:p>
            <a:pPr algn="just"/>
            <a:r>
              <a:rPr lang="en-GB" sz="2000" dirty="0"/>
              <a:t>In der EMPATHIE-Phase erforschen Sie Techniken, um die Bedürfnisse und Anliegen der Stakeholder zu verstehen.</a:t>
            </a:r>
          </a:p>
          <a:p>
            <a:pPr algn="just"/>
            <a:endParaRPr lang="en-GB" sz="900" dirty="0"/>
          </a:p>
          <a:p>
            <a:pPr algn="just"/>
            <a:r>
              <a:rPr lang="en-GB" sz="2000" b="1" dirty="0"/>
              <a:t>Befragungen: </a:t>
            </a:r>
            <a:r>
              <a:rPr lang="en-GB" sz="2000" dirty="0"/>
              <a:t>Durch die Durchführung von Interviews können wir direkt mit den Beteiligten in Kontakt treten und wertvolle Einblicke in ihre Erfahrungen und Ansichten gewinnen. Indem wir offene Fragen stellen und aktiv zuhören, können wir zugrundeliegende Bedenken und Motivationen aufdecken.</a:t>
            </a:r>
          </a:p>
          <a:p>
            <a:pPr algn="just"/>
            <a:endParaRPr lang="en-GB" sz="900" dirty="0"/>
          </a:p>
          <a:p>
            <a:pPr algn="just"/>
            <a:r>
              <a:rPr lang="en-GB" sz="2000" b="1" dirty="0"/>
              <a:t>Umfragen: </a:t>
            </a:r>
            <a:r>
              <a:rPr lang="en-GB" sz="2000" dirty="0"/>
              <a:t>Umfragen bieten einen skalierbaren Ansatz, um Feedback von einem größeren Publikum zu erhalten. Durch sorgfältig ausgearbeitete Umfragefragen können wir verschiedene Perspektiven erfassen und gemeinsame Themen oder Schmerzpunkte identifizieren.</a:t>
            </a:r>
          </a:p>
          <a:p>
            <a:pPr algn="just"/>
            <a:endParaRPr lang="en-GB" sz="900" dirty="0"/>
          </a:p>
          <a:p>
            <a:pPr algn="just"/>
            <a:r>
              <a:rPr lang="en-GB" sz="2000" b="1" dirty="0"/>
              <a:t>Beobachtungsstudien: </a:t>
            </a:r>
            <a:r>
              <a:rPr lang="en-GB" sz="2000" dirty="0"/>
              <a:t>Die Beobachtung von Stakeholdern in ihrem natürlichen Umfeld bietet kontextbezogene Einblicke in ihr Verhalten und ihre Interaktionen. Indem wir in ihre Umgebung eintauchen, können wir unausgesprochene Bedürfnisse und Vorlieben aufdecken.</a:t>
            </a:r>
          </a:p>
          <a:p>
            <a:pPr algn="just"/>
            <a:endParaRPr lang="en-GB" sz="900" b="1" dirty="0"/>
          </a:p>
          <a:p>
            <a:pPr algn="just"/>
            <a:r>
              <a:rPr lang="en-GB" sz="2000" b="1" dirty="0"/>
              <a:t>Empathie-Mapping: </a:t>
            </a:r>
            <a:r>
              <a:rPr lang="en-GB" sz="2000" dirty="0"/>
              <a:t>Beim Empathie-Mapping werden die Gedanken, Gefühle und Handlungen der Stakeholder visualisiert, um ein tieferes Verständnis für ihre Bedürfnisse zu entwickeln. Indem wir diese Dimensionen abbilden, können wir Gelegenheiten für Empathie und Verbindung identifizieren.</a:t>
            </a:r>
          </a:p>
        </p:txBody>
      </p:sp>
    </p:spTree>
    <p:extLst>
      <p:ext uri="{BB962C8B-B14F-4D97-AF65-F5344CB8AC3E}">
        <p14:creationId xmlns:p14="http://schemas.microsoft.com/office/powerpoint/2010/main" val="26707709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2CDF92-5174-2DB6-C06F-4E6DF3DEA3C9}"/>
              </a:ext>
            </a:extLst>
          </p:cNvPr>
          <p:cNvGraphicFramePr>
            <a:graphicFrameLocks noChangeAspect="1"/>
          </p:cNvGraphicFramePr>
          <p:nvPr>
            <p:custDataLst>
              <p:tags r:id="rId1"/>
            </p:custDataLst>
            <p:extLst>
              <p:ext uri="{D42A27DB-BD31-4B8C-83A1-F6EECF244321}">
                <p14:modId xmlns:p14="http://schemas.microsoft.com/office/powerpoint/2010/main" val="3145174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Person holding hand">
            <a:extLst>
              <a:ext uri="{FF2B5EF4-FFF2-40B4-BE49-F238E27FC236}">
                <a16:creationId xmlns:a16="http://schemas.microsoft.com/office/drawing/2014/main" id="{A973A452-9AEE-8D5F-F6A4-40E5E7B91F6C}"/>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12" r="21412"/>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87533" y="240332"/>
            <a:ext cx="4951851" cy="1279970"/>
          </a:xfrm>
        </p:spPr>
        <p:txBody>
          <a:bodyPr/>
          <a:lstStyle/>
          <a:p>
            <a:r>
              <a:rPr lang="en-GB" b="1" dirty="0"/>
              <a:t>ROLLE DER EMPATHIE</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87533" y="914865"/>
            <a:ext cx="5658934" cy="5553667"/>
          </a:xfrm>
          <a:solidFill>
            <a:schemeClr val="bg1"/>
          </a:solidFill>
        </p:spPr>
        <p:txBody>
          <a:bodyPr/>
          <a:lstStyle/>
          <a:p>
            <a:pPr algn="just"/>
            <a:r>
              <a:rPr lang="en-GB" sz="1800" dirty="0"/>
              <a:t>Empathie und Nutzerzentrierung sind für Design Thinking von grundlegender Bedeutung, da sie es den Teams ermöglichen, die Bedürfnisse, Wünsche und Verhaltensweisen der Endnutzer genau zu verstehen und zu berücksichtigen. </a:t>
            </a:r>
          </a:p>
          <a:p>
            <a:pPr algn="just"/>
            <a:endParaRPr lang="en-GB" sz="1800" b="1" dirty="0"/>
          </a:p>
          <a:p>
            <a:pPr algn="just"/>
            <a:r>
              <a:rPr lang="en-GB" sz="1800" b="1" dirty="0"/>
              <a:t>Ein nutzerzentrierter Ansatz </a:t>
            </a:r>
            <a:r>
              <a:rPr lang="en-GB" sz="1800" dirty="0"/>
              <a:t>stellt sicher, dass die entwickelten Lösungen nicht nur machbar und realisierbar, sondern auch aus Sicht der Nutzer wünschenswert sind. Indem Sie sich in die Nutzer einfühlen, erhalten Sie Empathiekarten, Personas und Journey Maps, die als Werkzeuge dienen, um Erkenntnisse zu gewinnen und Designentscheidungen zu treffen. </a:t>
            </a:r>
          </a:p>
          <a:p>
            <a:pPr algn="just"/>
            <a:endParaRPr lang="en-GB" sz="1800" dirty="0"/>
          </a:p>
          <a:p>
            <a:pPr algn="just"/>
            <a:r>
              <a:rPr lang="en-GB" sz="1800" dirty="0"/>
              <a:t>Eine </a:t>
            </a:r>
            <a:r>
              <a:rPr lang="en-GB" sz="1800" b="1" dirty="0"/>
              <a:t>Empathiekarte </a:t>
            </a:r>
            <a:r>
              <a:rPr lang="en-GB" sz="1800" dirty="0"/>
              <a:t>ist ein wichtiges Instrument in diesem Prozess, mit dem die Teams erfassen können, was Benutzer sagen, denken, tun und fühlen. Durch die Erfassung dieser Aspekte erhalten die Teams wertvolle Einblicke in die Nutzererfahrungen, die ihnen bei der Entwicklung von Lösungen helfen. </a:t>
            </a:r>
            <a:r>
              <a:rPr lang="en-GB" sz="1800" dirty="0">
                <a:hlinkClick r:id="rId6"/>
              </a:rPr>
              <a:t>Eine Vorlage für eine Empathiekarte finden Sie hier. </a:t>
            </a:r>
            <a:endParaRPr lang="en-GB" sz="18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5</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183603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57487" y="189970"/>
            <a:ext cx="5358455" cy="1279970"/>
          </a:xfrm>
        </p:spPr>
        <p:txBody>
          <a:bodyPr/>
          <a:lstStyle/>
          <a:p>
            <a:r>
              <a:rPr lang="en-GB" dirty="0"/>
              <a:t>ENTWICKLUNG KREATIVER PROBLEMLÖSUNGSFÄHIGKEITEN</a:t>
            </a:r>
            <a:endParaRPr lang="en-US"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87532" y="1399420"/>
            <a:ext cx="5643365" cy="5102980"/>
          </a:xfrm>
          <a:solidFill>
            <a:schemeClr val="bg1"/>
          </a:solidFill>
        </p:spPr>
        <p:txBody>
          <a:bodyPr/>
          <a:lstStyle/>
          <a:p>
            <a:pPr algn="just"/>
            <a:r>
              <a:rPr lang="en-GB" sz="1800" dirty="0"/>
              <a:t>Design Thinking fördert kreative Problemlösungen durch einen strukturierten Ansatz, der divergente und konvergente Denkstrategien miteinander verbindet. </a:t>
            </a:r>
          </a:p>
          <a:p>
            <a:pPr algn="just"/>
            <a:endParaRPr lang="en-GB" sz="1800" dirty="0"/>
          </a:p>
          <a:p>
            <a:pPr algn="just"/>
            <a:r>
              <a:rPr lang="en-GB" sz="1800" b="1" dirty="0"/>
              <a:t>Exploring Ideas </a:t>
            </a:r>
            <a:r>
              <a:rPr lang="en-GB" sz="1800" dirty="0"/>
              <a:t>ermutigt die Teilnehmer, eine breite Palette von Ideen zu entwickeln, ohne deren Potenzial oder Durchführbarkeit vorschnell zu beurteilen.</a:t>
            </a:r>
          </a:p>
          <a:p>
            <a:pPr algn="just"/>
            <a:endParaRPr lang="en-GB" sz="1800" dirty="0"/>
          </a:p>
          <a:p>
            <a:pPr algn="just"/>
            <a:r>
              <a:rPr lang="en-GB" sz="1800" dirty="0"/>
              <a:t>Sobald eine Reihe von Ideen entstanden ist, kommt </a:t>
            </a:r>
            <a:r>
              <a:rPr lang="en-GB" sz="1800" b="1" dirty="0"/>
              <a:t>die Phase der Ideenauswahl </a:t>
            </a:r>
            <a:r>
              <a:rPr lang="en-GB" sz="1800" dirty="0"/>
              <a:t>ins Spiel. In dieser Phase werden die vielversprechendsten Ideen bewertet und für die weitere Entwicklung ausgewählt. </a:t>
            </a:r>
          </a:p>
          <a:p>
            <a:pPr algn="just"/>
            <a:endParaRPr lang="en-GB" sz="1800" dirty="0"/>
          </a:p>
          <a:p>
            <a:pPr algn="just"/>
            <a:r>
              <a:rPr lang="en-GB" sz="1800" dirty="0"/>
              <a:t>Techniken wie Abstimmungen, Priorisierungsraster und Analysen der Auswirkungen im Vergleich zur Machbarkeit helfen den Teams, Lösungen zu finden, die am besten mit den Erkenntnissen der Benutzer und den Projektzielen übereinstimmen.</a:t>
            </a:r>
            <a:endParaRPr lang="en-US" sz="18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Business man pulling a block from Jenga tower">
            <a:extLst>
              <a:ext uri="{FF2B5EF4-FFF2-40B4-BE49-F238E27FC236}">
                <a16:creationId xmlns:a16="http://schemas.microsoft.com/office/drawing/2014/main" id="{320250E0-01A0-9468-C962-7BBBC8574F1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33817625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5298867" cy="1279970"/>
          </a:xfrm>
        </p:spPr>
        <p:txBody>
          <a:bodyPr/>
          <a:lstStyle/>
          <a:p>
            <a:r>
              <a:rPr lang="en-GB" sz="2800" dirty="0"/>
              <a:t>ENTWICKLUNG KREATIVER PROBLEMLÖSUNGSFÄHIGKEITEN</a:t>
            </a:r>
            <a:endParaRPr lang="en-US" sz="28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677798"/>
            <a:ext cx="5188476" cy="4350247"/>
          </a:xfrm>
        </p:spPr>
        <p:txBody>
          <a:bodyPr/>
          <a:lstStyle/>
          <a:p>
            <a:pPr algn="just"/>
            <a:r>
              <a:rPr lang="en-GB" sz="1800" b="1" dirty="0"/>
              <a:t>Visuelles Denken </a:t>
            </a:r>
            <a:r>
              <a:rPr lang="en-GB" sz="1800" dirty="0"/>
              <a:t>ist eine weitere wichtige Fähigkeit beim Design Thinking, bei dem Teams Skizzen, Diagramme und Storyboards verwenden, um Konzepte zu visualisieren und Ideen effektiv zu kommunizieren. </a:t>
            </a:r>
          </a:p>
          <a:p>
            <a:pPr algn="just"/>
            <a:endParaRPr lang="en-GB" sz="1800" dirty="0"/>
          </a:p>
          <a:p>
            <a:pPr algn="just"/>
            <a:r>
              <a:rPr lang="en-GB" sz="1800" dirty="0"/>
              <a:t>Diese visuellen Darstellungen erleichtern nicht nur die Kommunikation innerhalb der Teams, sondern helfen auch dabei, Feedback von Interessengruppen und Nutzern einzuholen und so die Lösungen schrittweise zu verfeinern und zu verbessern.</a:t>
            </a:r>
          </a:p>
          <a:p>
            <a:pPr algn="just"/>
            <a:endParaRPr lang="en-GB" sz="1800" dirty="0"/>
          </a:p>
          <a:p>
            <a:pPr algn="just"/>
            <a:r>
              <a:rPr lang="en-GB" sz="1800" b="1" dirty="0"/>
              <a:t>Kritisches Denken </a:t>
            </a:r>
            <a:r>
              <a:rPr lang="en-GB" sz="1800" dirty="0"/>
              <a:t>ist im gesamten Design Thinking-Prozess verankert und leitet die Teams dazu an, Ideen objektiv auf der Grundlage von Nutzererkenntnissen, technischer Machbarkeit und geschäftlicher Tragfähigkeit zu bewerten. </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Hedge maze">
            <a:extLst>
              <a:ext uri="{FF2B5EF4-FFF2-40B4-BE49-F238E27FC236}">
                <a16:creationId xmlns:a16="http://schemas.microsoft.com/office/drawing/2014/main" id="{23B7BA98-ED48-CF64-371E-53B57DA0615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92" r="21492"/>
          <a:stretch/>
        </p:blipFill>
        <p:spPr>
          <a:xfrm>
            <a:off x="0" y="0"/>
            <a:ext cx="5875338" cy="6858000"/>
          </a:xfrm>
        </p:spPr>
      </p:pic>
    </p:spTree>
    <p:extLst>
      <p:ext uri="{BB962C8B-B14F-4D97-AF65-F5344CB8AC3E}">
        <p14:creationId xmlns:p14="http://schemas.microsoft.com/office/powerpoint/2010/main" val="682241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7" y="271850"/>
            <a:ext cx="4951851" cy="1279970"/>
          </a:xfrm>
        </p:spPr>
        <p:txBody>
          <a:bodyPr/>
          <a:lstStyle/>
          <a:p>
            <a:r>
              <a:rPr lang="en-GB" b="1" dirty="0"/>
              <a:t>PROTOTYPING UND TESTVERFAHREN</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7" y="1551820"/>
            <a:ext cx="5638816" cy="4908352"/>
          </a:xfrm>
          <a:solidFill>
            <a:schemeClr val="bg1"/>
          </a:solidFill>
        </p:spPr>
        <p:txBody>
          <a:bodyPr/>
          <a:lstStyle/>
          <a:p>
            <a:pPr algn="just"/>
            <a:r>
              <a:rPr lang="en-GB" sz="2000" dirty="0"/>
              <a:t>Prototyping und Testen sind zentrale Phasen im Design Thinking-Prozess, die es den Teams ermöglichen, Ideen in greifbare Lösungen umzuwandeln und frühzeitig im Entwicklungszyklus umsetzbares Feedback zu sammeln. </a:t>
            </a:r>
          </a:p>
          <a:p>
            <a:pPr algn="just"/>
            <a:endParaRPr lang="en-GB" sz="2000" b="1" dirty="0"/>
          </a:p>
          <a:p>
            <a:pPr algn="just"/>
            <a:r>
              <a:rPr lang="en-GB" sz="2000" b="1" dirty="0"/>
              <a:t>Prototypen </a:t>
            </a:r>
            <a:r>
              <a:rPr lang="en-GB" sz="2000" dirty="0"/>
              <a:t>reichen von Low-Fidelity-Darstellungen, wie z. B. Skizzen oder Papierprototypen, bis hin zu High-Fidelity-Modellen, die die Funktionalität und das Benutzererlebnis des Endprodukts simulieren.</a:t>
            </a:r>
          </a:p>
          <a:p>
            <a:pPr algn="just"/>
            <a:endParaRPr lang="en-GB" sz="2000" dirty="0"/>
          </a:p>
          <a:p>
            <a:pPr algn="just"/>
            <a:r>
              <a:rPr lang="en-GB" sz="2000" dirty="0"/>
              <a:t>Der sich wiederholende Charakter des Prototyping ermöglicht es den Teams, schnell mehrere Designalternativen zu untersuchen, Stärken und Schwächen zu identifizieren und Lösungen auf der Grundlage von Benutzerfeedback und Testergebnissen zu verfeinern. </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Student in robotics class testing vehicle on test track">
            <a:extLst>
              <a:ext uri="{FF2B5EF4-FFF2-40B4-BE49-F238E27FC236}">
                <a16:creationId xmlns:a16="http://schemas.microsoft.com/office/drawing/2014/main" id="{8B609773-1970-ACEF-5953-C860D1A2452B}"/>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1765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1279970"/>
          </a:xfrm>
        </p:spPr>
        <p:txBody>
          <a:bodyPr/>
          <a:lstStyle/>
          <a:p>
            <a:r>
              <a:rPr lang="en-GB" b="1" dirty="0"/>
              <a:t>PROTOTYPING UND TESTVERFAHREN</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5" y="1677798"/>
            <a:ext cx="5121067" cy="4350247"/>
          </a:xfrm>
        </p:spPr>
        <p:txBody>
          <a:bodyPr/>
          <a:lstStyle/>
          <a:p>
            <a:pPr algn="just"/>
            <a:r>
              <a:rPr lang="en-GB" sz="1800" b="1" dirty="0"/>
              <a:t>Bei Benutzertests </a:t>
            </a:r>
            <a:r>
              <a:rPr lang="en-GB" sz="1800" dirty="0"/>
              <a:t>werden die Benutzer bei der Interaktion mit Prototypen beobachtet, um ihr Verhalten, ihre Vorlieben und ihre Probleme zu verstehen. Diese direkte Interaktion liefert wertvolle Erkenntnisse, die in nachfolgende Versionen und Verbesserungen einfließen.</a:t>
            </a:r>
          </a:p>
          <a:p>
            <a:pPr algn="just"/>
            <a:endParaRPr lang="en-GB" sz="1800" dirty="0"/>
          </a:p>
          <a:p>
            <a:pPr algn="just"/>
            <a:r>
              <a:rPr lang="en-GB" sz="1800" b="1" dirty="0"/>
              <a:t>Usability-Tests </a:t>
            </a:r>
            <a:r>
              <a:rPr lang="en-GB" sz="1800" dirty="0"/>
              <a:t>bewerten die Benutzerfreundlichkeit und das Benutzererlebnis von Prototypen, um sicherzustellen, dass die endgültige Lösung den Usability-Standards entspricht und die Benutzerzufriedenheit erhöht. </a:t>
            </a:r>
          </a:p>
          <a:p>
            <a:pPr algn="just"/>
            <a:endParaRPr lang="en-GB" sz="1800" b="1" dirty="0"/>
          </a:p>
          <a:p>
            <a:pPr algn="just"/>
            <a:r>
              <a:rPr lang="en-GB" sz="1800" b="1" dirty="0"/>
              <a:t>Feedback-Sitzungen </a:t>
            </a:r>
            <a:r>
              <a:rPr lang="en-GB" sz="1800" dirty="0"/>
              <a:t>mit Interessenvertretern und Endnutzern dienen der Gewinnung qualitativer Erkenntnisse, der Validierung von Annahmen und der weiteren Verfeinerung des Designs.</a:t>
            </a:r>
          </a:p>
          <a:p>
            <a:pPr algn="just"/>
            <a:endParaRPr lang="en-GB" sz="16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Engineer using tablet in factory with industrial robots">
            <a:extLst>
              <a:ext uri="{FF2B5EF4-FFF2-40B4-BE49-F238E27FC236}">
                <a16:creationId xmlns:a16="http://schemas.microsoft.com/office/drawing/2014/main" id="{03528D5A-67F5-21FD-6939-7369C2CA0BBE}"/>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1694392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106FF-E3E8-A22E-FA89-11A37BA4E4D4}"/>
              </a:ext>
            </a:extLst>
          </p:cNvPr>
          <p:cNvGraphicFramePr>
            <a:graphicFrameLocks noChangeAspect="1"/>
          </p:cNvGraphicFramePr>
          <p:nvPr>
            <p:custDataLst>
              <p:tags r:id="rId1"/>
            </p:custDataLst>
            <p:extLst>
              <p:ext uri="{D42A27DB-BD31-4B8C-83A1-F6EECF244321}">
                <p14:modId xmlns:p14="http://schemas.microsoft.com/office/powerpoint/2010/main" val="183346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Light bulb on green grass">
            <a:extLst>
              <a:ext uri="{FF2B5EF4-FFF2-40B4-BE49-F238E27FC236}">
                <a16:creationId xmlns:a16="http://schemas.microsoft.com/office/drawing/2014/main" id="{DD901E9B-FFAC-CBA6-D282-5C55DD29412A}"/>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22" b="22"/>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113515" cy="2850370"/>
          </a:xfrm>
        </p:spPr>
        <p:txBody>
          <a:bodyPr/>
          <a:lstStyle/>
          <a:p>
            <a:r>
              <a:rPr lang="en-US" b="1" dirty="0"/>
              <a:t>EINFÜHRUNG INNOVATION FÜR NACHHALTIGKEIT</a:t>
            </a:r>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6661D6-D865-4D65-1E20-E9FBED74117D}"/>
              </a:ext>
            </a:extLst>
          </p:cNvPr>
          <p:cNvSpPr>
            <a:spLocks noGrp="1"/>
          </p:cNvSpPr>
          <p:nvPr>
            <p:ph type="body" sz="quarter" idx="30"/>
          </p:nvPr>
        </p:nvSpPr>
        <p:spPr/>
        <p:txBody>
          <a:bodyPr/>
          <a:lstStyle/>
          <a:p>
            <a:r>
              <a:rPr lang="en-GB" sz="3600" b="1" dirty="0"/>
              <a:t>Kreativität und Innovation</a:t>
            </a:r>
            <a:endParaRPr lang="en-GB" sz="3600" dirty="0"/>
          </a:p>
          <a:p>
            <a:endParaRPr lang="en-IE" dirty="0"/>
          </a:p>
        </p:txBody>
      </p:sp>
      <p:sp>
        <p:nvSpPr>
          <p:cNvPr id="3" name="Text Placeholder 2">
            <a:extLst>
              <a:ext uri="{FF2B5EF4-FFF2-40B4-BE49-F238E27FC236}">
                <a16:creationId xmlns:a16="http://schemas.microsoft.com/office/drawing/2014/main" id="{9BC972A0-3F85-1E08-2DEA-B3E5E5F42040}"/>
              </a:ext>
            </a:extLst>
          </p:cNvPr>
          <p:cNvSpPr>
            <a:spLocks noGrp="1"/>
          </p:cNvSpPr>
          <p:nvPr>
            <p:ph type="body" sz="quarter" idx="48"/>
          </p:nvPr>
        </p:nvSpPr>
        <p:spPr/>
        <p:txBody>
          <a:bodyPr/>
          <a:lstStyle/>
          <a:p>
            <a:pPr algn="just"/>
            <a:r>
              <a:rPr lang="en-GB" sz="1800" dirty="0"/>
              <a:t>Design Thinking schafft eine Kultur der Kreativität und Innovation, indem es ein Umfeld schafft, in dem unterschiedliche Perspektiven, Experimente und Risikobereitschaft gefördert und geschätzt werden. </a:t>
            </a:r>
            <a:r>
              <a:rPr lang="en-GB" sz="1800" b="1" dirty="0"/>
              <a:t>Die Schaffung eines offenen Umfelds </a:t>
            </a:r>
            <a:r>
              <a:rPr lang="en-GB" sz="1800" dirty="0"/>
              <a:t>ist von grundlegender Bedeutung, in dem sich Teams befähigt fühlen, Ideen zu äußern, Annahmen in Frage zu stellen und unkonventionelle Lösungen zu erforschen, ohne Angst vor einer Beurteilung zu haben.</a:t>
            </a:r>
          </a:p>
          <a:p>
            <a:pPr algn="just"/>
            <a:endParaRPr lang="en-GB" sz="1800" dirty="0"/>
          </a:p>
          <a:p>
            <a:pPr algn="just"/>
            <a:r>
              <a:rPr lang="en-GB" sz="1800" b="1" dirty="0"/>
              <a:t>Interdisziplinäre Zusammenarbeit </a:t>
            </a:r>
            <a:r>
              <a:rPr lang="en-GB" sz="1800" dirty="0"/>
              <a:t>ist ein zentrales Element des Design Thinking, bei dem das Fachwissen und die Erkenntnisse von Personen aus verschiedenen Disziplinen und mit unterschiedlichem Hintergrund genutzt werden. Dieser kollaborative Ansatz fördert die Kreativität durch die Integration unterschiedlicher Sichtweisen, Wissensgrundlagen und Problemlösungsstrategien, was zu ganzheitlicheren und innovativeren Lösungen führt.</a:t>
            </a:r>
          </a:p>
          <a:p>
            <a:pPr algn="just"/>
            <a:endParaRPr lang="en-GB" sz="1800" dirty="0"/>
          </a:p>
          <a:p>
            <a:pPr algn="just"/>
            <a:r>
              <a:rPr lang="en-GB" sz="1800" b="1" dirty="0"/>
              <a:t>Risikobereitschaft </a:t>
            </a:r>
            <a:r>
              <a:rPr lang="en-GB" sz="1800" dirty="0"/>
              <a:t>ist ein wesentlicher Bestandteil des Design Thinking, bei dem Scheitern als natürlicher Teil des iterativen Prozesses und nicht als Rückschlag angesehen wird. Die Teams lernen aus Rückschlägen, verfeinern ihre Ansätze und drehen bei Bedarf um, um die Innovation voranzutreiben. Diese Denkweise fördert kontinuierliches Lernen, Anpassungen und Verbesserungen und schafft eine Kultur, in der bahnbrechende Ideen gedeihen können.</a:t>
            </a:r>
          </a:p>
          <a:p>
            <a:pPr algn="just"/>
            <a:endParaRPr lang="en-IE" sz="1800" dirty="0"/>
          </a:p>
        </p:txBody>
      </p:sp>
      <p:grpSp>
        <p:nvGrpSpPr>
          <p:cNvPr id="4" name="Graphic 3">
            <a:extLst>
              <a:ext uri="{FF2B5EF4-FFF2-40B4-BE49-F238E27FC236}">
                <a16:creationId xmlns:a16="http://schemas.microsoft.com/office/drawing/2014/main" id="{730B7B6C-3964-0E61-A11D-9999619D5550}"/>
              </a:ext>
            </a:extLst>
          </p:cNvPr>
          <p:cNvGrpSpPr/>
          <p:nvPr/>
        </p:nvGrpSpPr>
        <p:grpSpPr>
          <a:xfrm>
            <a:off x="10099485" y="686171"/>
            <a:ext cx="1088878" cy="1111078"/>
            <a:chOff x="8424689" y="5374597"/>
            <a:chExt cx="1088878" cy="1111078"/>
          </a:xfrm>
          <a:solidFill>
            <a:srgbClr val="0F486D"/>
          </a:solidFill>
        </p:grpSpPr>
        <p:sp>
          <p:nvSpPr>
            <p:cNvPr id="5" name="Freeform 1258">
              <a:extLst>
                <a:ext uri="{FF2B5EF4-FFF2-40B4-BE49-F238E27FC236}">
                  <a16:creationId xmlns:a16="http://schemas.microsoft.com/office/drawing/2014/main" id="{9D347F4E-B9F0-1263-C47F-3DE1275EB731}"/>
                </a:ext>
              </a:extLst>
            </p:cNvPr>
            <p:cNvSpPr/>
            <p:nvPr/>
          </p:nvSpPr>
          <p:spPr>
            <a:xfrm>
              <a:off x="8819647" y="5399542"/>
              <a:ext cx="400988" cy="469012"/>
            </a:xfrm>
            <a:custGeom>
              <a:avLst/>
              <a:gdLst>
                <a:gd name="connsiteX0" fmla="*/ 400444 w 400988"/>
                <a:gd name="connsiteY0" fmla="*/ 189250 h 469012"/>
                <a:gd name="connsiteX1" fmla="*/ 400444 w 400988"/>
                <a:gd name="connsiteY1" fmla="*/ 208450 h 469012"/>
                <a:gd name="connsiteX2" fmla="*/ 342846 w 400988"/>
                <a:gd name="connsiteY2" fmla="*/ 359302 h 469012"/>
                <a:gd name="connsiteX3" fmla="*/ 285248 w 400988"/>
                <a:gd name="connsiteY3" fmla="*/ 469013 h 469012"/>
                <a:gd name="connsiteX4" fmla="*/ 115197 w 400988"/>
                <a:gd name="connsiteY4" fmla="*/ 469013 h 469012"/>
                <a:gd name="connsiteX5" fmla="*/ 57598 w 400988"/>
                <a:gd name="connsiteY5" fmla="*/ 359302 h 469012"/>
                <a:gd name="connsiteX6" fmla="*/ 0 w 400988"/>
                <a:gd name="connsiteY6" fmla="*/ 208450 h 469012"/>
                <a:gd name="connsiteX7" fmla="*/ 60341 w 400988"/>
                <a:gd name="connsiteY7" fmla="*/ 57598 h 469012"/>
                <a:gd name="connsiteX8" fmla="*/ 200222 w 400988"/>
                <a:gd name="connsiteY8" fmla="*/ 0 h 469012"/>
                <a:gd name="connsiteX9" fmla="*/ 200222 w 400988"/>
                <a:gd name="connsiteY9" fmla="*/ 0 h 469012"/>
                <a:gd name="connsiteX10" fmla="*/ 320904 w 400988"/>
                <a:gd name="connsiteY10" fmla="*/ 38399 h 469012"/>
                <a:gd name="connsiteX11" fmla="*/ 400444 w 400988"/>
                <a:gd name="connsiteY11" fmla="*/ 189250 h 46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988" h="469012">
                  <a:moveTo>
                    <a:pt x="400444" y="189250"/>
                  </a:moveTo>
                  <a:cubicBezTo>
                    <a:pt x="400444" y="194736"/>
                    <a:pt x="400444" y="202964"/>
                    <a:pt x="400444" y="208450"/>
                  </a:cubicBezTo>
                  <a:cubicBezTo>
                    <a:pt x="400444" y="279762"/>
                    <a:pt x="373017" y="318161"/>
                    <a:pt x="342846" y="359302"/>
                  </a:cubicBezTo>
                  <a:cubicBezTo>
                    <a:pt x="320904" y="389473"/>
                    <a:pt x="296219" y="422385"/>
                    <a:pt x="285248" y="469013"/>
                  </a:cubicBezTo>
                  <a:lnTo>
                    <a:pt x="115197" y="469013"/>
                  </a:lnTo>
                  <a:cubicBezTo>
                    <a:pt x="104225" y="422385"/>
                    <a:pt x="79540" y="392216"/>
                    <a:pt x="57598" y="359302"/>
                  </a:cubicBezTo>
                  <a:cubicBezTo>
                    <a:pt x="27428" y="318161"/>
                    <a:pt x="0" y="279762"/>
                    <a:pt x="0" y="208450"/>
                  </a:cubicBezTo>
                  <a:cubicBezTo>
                    <a:pt x="0" y="131653"/>
                    <a:pt x="32914" y="85026"/>
                    <a:pt x="60341" y="57598"/>
                  </a:cubicBezTo>
                  <a:cubicBezTo>
                    <a:pt x="98740" y="21943"/>
                    <a:pt x="148109" y="0"/>
                    <a:pt x="200222" y="0"/>
                  </a:cubicBezTo>
                  <a:cubicBezTo>
                    <a:pt x="200222" y="0"/>
                    <a:pt x="200222" y="0"/>
                    <a:pt x="200222" y="0"/>
                  </a:cubicBezTo>
                  <a:cubicBezTo>
                    <a:pt x="241363" y="0"/>
                    <a:pt x="285248" y="13714"/>
                    <a:pt x="320904" y="38399"/>
                  </a:cubicBezTo>
                  <a:cubicBezTo>
                    <a:pt x="320904" y="41141"/>
                    <a:pt x="408672" y="109710"/>
                    <a:pt x="400444" y="189250"/>
                  </a:cubicBezTo>
                  <a:close/>
                </a:path>
              </a:pathLst>
            </a:custGeom>
            <a:solidFill>
              <a:srgbClr val="F99F27"/>
            </a:solidFill>
            <a:ln w="27426" cap="flat">
              <a:noFill/>
              <a:prstDash val="solid"/>
              <a:miter/>
            </a:ln>
          </p:spPr>
          <p:txBody>
            <a:bodyPr rtlCol="0" anchor="ctr"/>
            <a:lstStyle/>
            <a:p>
              <a:endParaRPr lang="en-US"/>
            </a:p>
          </p:txBody>
        </p:sp>
        <p:grpSp>
          <p:nvGrpSpPr>
            <p:cNvPr id="6" name="Graphic 3">
              <a:extLst>
                <a:ext uri="{FF2B5EF4-FFF2-40B4-BE49-F238E27FC236}">
                  <a16:creationId xmlns:a16="http://schemas.microsoft.com/office/drawing/2014/main" id="{B4C30989-39F6-5F39-933F-C8BD28BD7C64}"/>
                </a:ext>
              </a:extLst>
            </p:cNvPr>
            <p:cNvGrpSpPr/>
            <p:nvPr/>
          </p:nvGrpSpPr>
          <p:grpSpPr>
            <a:xfrm>
              <a:off x="8424689" y="5374597"/>
              <a:ext cx="1088878" cy="1111078"/>
              <a:chOff x="8424689" y="5374597"/>
              <a:chExt cx="1088878" cy="1111078"/>
            </a:xfrm>
            <a:grpFill/>
          </p:grpSpPr>
          <p:grpSp>
            <p:nvGrpSpPr>
              <p:cNvPr id="7" name="Graphic 3">
                <a:extLst>
                  <a:ext uri="{FF2B5EF4-FFF2-40B4-BE49-F238E27FC236}">
                    <a16:creationId xmlns:a16="http://schemas.microsoft.com/office/drawing/2014/main" id="{867A8CA3-3CF1-3425-9312-132C45DEF6DE}"/>
                  </a:ext>
                </a:extLst>
              </p:cNvPr>
              <p:cNvGrpSpPr/>
              <p:nvPr/>
            </p:nvGrpSpPr>
            <p:grpSpPr>
              <a:xfrm>
                <a:off x="8424689" y="5374597"/>
                <a:ext cx="943956" cy="1111078"/>
                <a:chOff x="8424689" y="5374597"/>
                <a:chExt cx="943956" cy="1111078"/>
              </a:xfrm>
              <a:grpFill/>
            </p:grpSpPr>
            <p:sp>
              <p:nvSpPr>
                <p:cNvPr id="17" name="Freeform 1270">
                  <a:extLst>
                    <a:ext uri="{FF2B5EF4-FFF2-40B4-BE49-F238E27FC236}">
                      <a16:creationId xmlns:a16="http://schemas.microsoft.com/office/drawing/2014/main" id="{E543A592-9339-1F37-9F20-11FF88D85334}"/>
                    </a:ext>
                  </a:extLst>
                </p:cNvPr>
                <p:cNvSpPr/>
                <p:nvPr/>
              </p:nvSpPr>
              <p:spPr>
                <a:xfrm>
                  <a:off x="8424689" y="6118146"/>
                  <a:ext cx="943956" cy="367529"/>
                </a:xfrm>
                <a:custGeom>
                  <a:avLst/>
                  <a:gdLst>
                    <a:gd name="connsiteX0" fmla="*/ 833801 w 943956"/>
                    <a:gd name="connsiteY0" fmla="*/ 24685 h 367529"/>
                    <a:gd name="connsiteX1" fmla="*/ 671978 w 943956"/>
                    <a:gd name="connsiteY1" fmla="*/ 106968 h 367529"/>
                    <a:gd name="connsiteX2" fmla="*/ 617123 w 943956"/>
                    <a:gd name="connsiteY2" fmla="*/ 85026 h 367529"/>
                    <a:gd name="connsiteX3" fmla="*/ 507412 w 943956"/>
                    <a:gd name="connsiteY3" fmla="*/ 85026 h 367529"/>
                    <a:gd name="connsiteX4" fmla="*/ 499183 w 943956"/>
                    <a:gd name="connsiteY4" fmla="*/ 85026 h 367529"/>
                    <a:gd name="connsiteX5" fmla="*/ 493698 w 943956"/>
                    <a:gd name="connsiteY5" fmla="*/ 79540 h 367529"/>
                    <a:gd name="connsiteX6" fmla="*/ 493698 w 943956"/>
                    <a:gd name="connsiteY6" fmla="*/ 79540 h 367529"/>
                    <a:gd name="connsiteX7" fmla="*/ 241363 w 943956"/>
                    <a:gd name="connsiteY7" fmla="*/ 32913 h 367529"/>
                    <a:gd name="connsiteX8" fmla="*/ 213936 w 943956"/>
                    <a:gd name="connsiteY8" fmla="*/ 38399 h 367529"/>
                    <a:gd name="connsiteX9" fmla="*/ 189251 w 943956"/>
                    <a:gd name="connsiteY9" fmla="*/ 38399 h 367529"/>
                    <a:gd name="connsiteX10" fmla="*/ 137138 w 943956"/>
                    <a:gd name="connsiteY10" fmla="*/ 0 h 367529"/>
                    <a:gd name="connsiteX11" fmla="*/ 54855 w 943956"/>
                    <a:gd name="connsiteY11" fmla="*/ 0 h 367529"/>
                    <a:gd name="connsiteX12" fmla="*/ 0 w 943956"/>
                    <a:gd name="connsiteY12" fmla="*/ 54855 h 367529"/>
                    <a:gd name="connsiteX13" fmla="*/ 0 w 943956"/>
                    <a:gd name="connsiteY13" fmla="*/ 268790 h 367529"/>
                    <a:gd name="connsiteX14" fmla="*/ 54855 w 943956"/>
                    <a:gd name="connsiteY14" fmla="*/ 323646 h 367529"/>
                    <a:gd name="connsiteX15" fmla="*/ 137138 w 943956"/>
                    <a:gd name="connsiteY15" fmla="*/ 323646 h 367529"/>
                    <a:gd name="connsiteX16" fmla="*/ 189251 w 943956"/>
                    <a:gd name="connsiteY16" fmla="*/ 285247 h 367529"/>
                    <a:gd name="connsiteX17" fmla="*/ 233135 w 943956"/>
                    <a:gd name="connsiteY17" fmla="*/ 285247 h 367529"/>
                    <a:gd name="connsiteX18" fmla="*/ 246849 w 943956"/>
                    <a:gd name="connsiteY18" fmla="*/ 287990 h 367529"/>
                    <a:gd name="connsiteX19" fmla="*/ 458042 w 943956"/>
                    <a:gd name="connsiteY19" fmla="*/ 345588 h 367529"/>
                    <a:gd name="connsiteX20" fmla="*/ 482727 w 943956"/>
                    <a:gd name="connsiteY20" fmla="*/ 353816 h 367529"/>
                    <a:gd name="connsiteX21" fmla="*/ 556781 w 943956"/>
                    <a:gd name="connsiteY21" fmla="*/ 367530 h 367529"/>
                    <a:gd name="connsiteX22" fmla="*/ 650035 w 943956"/>
                    <a:gd name="connsiteY22" fmla="*/ 334616 h 367529"/>
                    <a:gd name="connsiteX23" fmla="*/ 650035 w 943956"/>
                    <a:gd name="connsiteY23" fmla="*/ 334616 h 367529"/>
                    <a:gd name="connsiteX24" fmla="*/ 910598 w 943956"/>
                    <a:gd name="connsiteY24" fmla="*/ 150852 h 367529"/>
                    <a:gd name="connsiteX25" fmla="*/ 932541 w 943956"/>
                    <a:gd name="connsiteY25" fmla="*/ 49369 h 367529"/>
                    <a:gd name="connsiteX26" fmla="*/ 833801 w 943956"/>
                    <a:gd name="connsiteY26" fmla="*/ 24685 h 367529"/>
                    <a:gd name="connsiteX27" fmla="*/ 833801 w 943956"/>
                    <a:gd name="connsiteY27" fmla="*/ 24685 h 367529"/>
                    <a:gd name="connsiteX28" fmla="*/ 148109 w 943956"/>
                    <a:gd name="connsiteY28" fmla="*/ 271533 h 367529"/>
                    <a:gd name="connsiteX29" fmla="*/ 137138 w 943956"/>
                    <a:gd name="connsiteY29" fmla="*/ 282504 h 367529"/>
                    <a:gd name="connsiteX30" fmla="*/ 54855 w 943956"/>
                    <a:gd name="connsiteY30" fmla="*/ 282504 h 367529"/>
                    <a:gd name="connsiteX31" fmla="*/ 43884 w 943956"/>
                    <a:gd name="connsiteY31" fmla="*/ 271533 h 367529"/>
                    <a:gd name="connsiteX32" fmla="*/ 43884 w 943956"/>
                    <a:gd name="connsiteY32" fmla="*/ 57598 h 367529"/>
                    <a:gd name="connsiteX33" fmla="*/ 54855 w 943956"/>
                    <a:gd name="connsiteY33" fmla="*/ 46626 h 367529"/>
                    <a:gd name="connsiteX34" fmla="*/ 137138 w 943956"/>
                    <a:gd name="connsiteY34" fmla="*/ 46626 h 367529"/>
                    <a:gd name="connsiteX35" fmla="*/ 148109 w 943956"/>
                    <a:gd name="connsiteY35" fmla="*/ 57598 h 367529"/>
                    <a:gd name="connsiteX36" fmla="*/ 148109 w 943956"/>
                    <a:gd name="connsiteY36" fmla="*/ 271533 h 367529"/>
                    <a:gd name="connsiteX37" fmla="*/ 885914 w 943956"/>
                    <a:gd name="connsiteY37" fmla="*/ 117938 h 367529"/>
                    <a:gd name="connsiteX38" fmla="*/ 625351 w 943956"/>
                    <a:gd name="connsiteY38" fmla="*/ 301704 h 367529"/>
                    <a:gd name="connsiteX39" fmla="*/ 496441 w 943956"/>
                    <a:gd name="connsiteY39" fmla="*/ 315418 h 367529"/>
                    <a:gd name="connsiteX40" fmla="*/ 469013 w 943956"/>
                    <a:gd name="connsiteY40" fmla="*/ 307189 h 367529"/>
                    <a:gd name="connsiteX41" fmla="*/ 257820 w 943956"/>
                    <a:gd name="connsiteY41" fmla="*/ 249592 h 367529"/>
                    <a:gd name="connsiteX42" fmla="*/ 230392 w 943956"/>
                    <a:gd name="connsiteY42" fmla="*/ 244106 h 367529"/>
                    <a:gd name="connsiteX43" fmla="*/ 189251 w 943956"/>
                    <a:gd name="connsiteY43" fmla="*/ 244106 h 367529"/>
                    <a:gd name="connsiteX44" fmla="*/ 189251 w 943956"/>
                    <a:gd name="connsiteY44" fmla="*/ 82283 h 367529"/>
                    <a:gd name="connsiteX45" fmla="*/ 211193 w 943956"/>
                    <a:gd name="connsiteY45" fmla="*/ 82283 h 367529"/>
                    <a:gd name="connsiteX46" fmla="*/ 252334 w 943956"/>
                    <a:gd name="connsiteY46" fmla="*/ 74054 h 367529"/>
                    <a:gd name="connsiteX47" fmla="*/ 458042 w 943956"/>
                    <a:gd name="connsiteY47" fmla="*/ 109710 h 367529"/>
                    <a:gd name="connsiteX48" fmla="*/ 458042 w 943956"/>
                    <a:gd name="connsiteY48" fmla="*/ 109710 h 367529"/>
                    <a:gd name="connsiteX49" fmla="*/ 501926 w 943956"/>
                    <a:gd name="connsiteY49" fmla="*/ 126167 h 367529"/>
                    <a:gd name="connsiteX50" fmla="*/ 611637 w 943956"/>
                    <a:gd name="connsiteY50" fmla="*/ 126167 h 367529"/>
                    <a:gd name="connsiteX51" fmla="*/ 644550 w 943956"/>
                    <a:gd name="connsiteY51" fmla="*/ 159080 h 367529"/>
                    <a:gd name="connsiteX52" fmla="*/ 611637 w 943956"/>
                    <a:gd name="connsiteY52" fmla="*/ 191993 h 367529"/>
                    <a:gd name="connsiteX53" fmla="*/ 433357 w 943956"/>
                    <a:gd name="connsiteY53" fmla="*/ 191993 h 367529"/>
                    <a:gd name="connsiteX54" fmla="*/ 411415 w 943956"/>
                    <a:gd name="connsiteY54" fmla="*/ 213935 h 367529"/>
                    <a:gd name="connsiteX55" fmla="*/ 433357 w 943956"/>
                    <a:gd name="connsiteY55" fmla="*/ 235878 h 367529"/>
                    <a:gd name="connsiteX56" fmla="*/ 611637 w 943956"/>
                    <a:gd name="connsiteY56" fmla="*/ 235878 h 367529"/>
                    <a:gd name="connsiteX57" fmla="*/ 688435 w 943956"/>
                    <a:gd name="connsiteY57" fmla="*/ 159080 h 367529"/>
                    <a:gd name="connsiteX58" fmla="*/ 685692 w 943956"/>
                    <a:gd name="connsiteY58" fmla="*/ 142623 h 367529"/>
                    <a:gd name="connsiteX59" fmla="*/ 844772 w 943956"/>
                    <a:gd name="connsiteY59" fmla="*/ 60340 h 367529"/>
                    <a:gd name="connsiteX60" fmla="*/ 888656 w 943956"/>
                    <a:gd name="connsiteY60" fmla="*/ 68569 h 367529"/>
                    <a:gd name="connsiteX61" fmla="*/ 885914 w 943956"/>
                    <a:gd name="connsiteY61" fmla="*/ 117938 h 367529"/>
                    <a:gd name="connsiteX62" fmla="*/ 885914 w 943956"/>
                    <a:gd name="connsiteY62" fmla="*/ 117938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43956" h="367529">
                      <a:moveTo>
                        <a:pt x="833801" y="24685"/>
                      </a:moveTo>
                      <a:lnTo>
                        <a:pt x="671978" y="106968"/>
                      </a:lnTo>
                      <a:cubicBezTo>
                        <a:pt x="658264" y="93254"/>
                        <a:pt x="639064" y="85026"/>
                        <a:pt x="617123" y="85026"/>
                      </a:cubicBezTo>
                      <a:lnTo>
                        <a:pt x="507412" y="85026"/>
                      </a:lnTo>
                      <a:cubicBezTo>
                        <a:pt x="501926" y="85026"/>
                        <a:pt x="501926" y="85026"/>
                        <a:pt x="499183" y="85026"/>
                      </a:cubicBezTo>
                      <a:cubicBezTo>
                        <a:pt x="499183" y="85026"/>
                        <a:pt x="496441" y="82283"/>
                        <a:pt x="493698" y="79540"/>
                      </a:cubicBezTo>
                      <a:lnTo>
                        <a:pt x="493698" y="79540"/>
                      </a:lnTo>
                      <a:cubicBezTo>
                        <a:pt x="403186" y="-5486"/>
                        <a:pt x="326389" y="0"/>
                        <a:pt x="241363" y="32913"/>
                      </a:cubicBezTo>
                      <a:cubicBezTo>
                        <a:pt x="227649" y="38399"/>
                        <a:pt x="227649" y="38399"/>
                        <a:pt x="213936" y="38399"/>
                      </a:cubicBezTo>
                      <a:lnTo>
                        <a:pt x="189251" y="38399"/>
                      </a:lnTo>
                      <a:cubicBezTo>
                        <a:pt x="181023" y="16457"/>
                        <a:pt x="161823" y="0"/>
                        <a:pt x="137138" y="0"/>
                      </a:cubicBezTo>
                      <a:lnTo>
                        <a:pt x="54855" y="0"/>
                      </a:lnTo>
                      <a:cubicBezTo>
                        <a:pt x="24685" y="0"/>
                        <a:pt x="0" y="24685"/>
                        <a:pt x="0" y="54855"/>
                      </a:cubicBezTo>
                      <a:lnTo>
                        <a:pt x="0" y="268790"/>
                      </a:lnTo>
                      <a:cubicBezTo>
                        <a:pt x="0" y="298961"/>
                        <a:pt x="24685" y="323646"/>
                        <a:pt x="54855" y="323646"/>
                      </a:cubicBezTo>
                      <a:lnTo>
                        <a:pt x="137138" y="323646"/>
                      </a:lnTo>
                      <a:cubicBezTo>
                        <a:pt x="161823" y="323646"/>
                        <a:pt x="181023" y="307189"/>
                        <a:pt x="189251" y="285247"/>
                      </a:cubicBezTo>
                      <a:lnTo>
                        <a:pt x="233135" y="285247"/>
                      </a:lnTo>
                      <a:cubicBezTo>
                        <a:pt x="238620" y="285247"/>
                        <a:pt x="244106" y="287990"/>
                        <a:pt x="246849" y="287990"/>
                      </a:cubicBezTo>
                      <a:lnTo>
                        <a:pt x="458042" y="345588"/>
                      </a:lnTo>
                      <a:cubicBezTo>
                        <a:pt x="466270" y="348330"/>
                        <a:pt x="474498" y="351073"/>
                        <a:pt x="482727" y="353816"/>
                      </a:cubicBezTo>
                      <a:cubicBezTo>
                        <a:pt x="510155" y="362044"/>
                        <a:pt x="532097" y="367530"/>
                        <a:pt x="556781" y="367530"/>
                      </a:cubicBezTo>
                      <a:cubicBezTo>
                        <a:pt x="584209" y="367530"/>
                        <a:pt x="611637" y="359302"/>
                        <a:pt x="650035" y="334616"/>
                      </a:cubicBezTo>
                      <a:cubicBezTo>
                        <a:pt x="650035" y="334616"/>
                        <a:pt x="650035" y="334616"/>
                        <a:pt x="650035" y="334616"/>
                      </a:cubicBezTo>
                      <a:lnTo>
                        <a:pt x="910598" y="150852"/>
                      </a:lnTo>
                      <a:cubicBezTo>
                        <a:pt x="943512" y="126167"/>
                        <a:pt x="954483" y="82283"/>
                        <a:pt x="932541" y="49369"/>
                      </a:cubicBezTo>
                      <a:cubicBezTo>
                        <a:pt x="913341" y="16457"/>
                        <a:pt x="869457" y="5485"/>
                        <a:pt x="833801" y="24685"/>
                      </a:cubicBezTo>
                      <a:lnTo>
                        <a:pt x="833801" y="24685"/>
                      </a:lnTo>
                      <a:close/>
                      <a:moveTo>
                        <a:pt x="148109" y="271533"/>
                      </a:moveTo>
                      <a:cubicBezTo>
                        <a:pt x="148109" y="277019"/>
                        <a:pt x="142623" y="282504"/>
                        <a:pt x="137138" y="282504"/>
                      </a:cubicBezTo>
                      <a:lnTo>
                        <a:pt x="54855" y="282504"/>
                      </a:lnTo>
                      <a:cubicBezTo>
                        <a:pt x="49369" y="282504"/>
                        <a:pt x="43884" y="277019"/>
                        <a:pt x="43884" y="271533"/>
                      </a:cubicBezTo>
                      <a:lnTo>
                        <a:pt x="43884" y="57598"/>
                      </a:lnTo>
                      <a:cubicBezTo>
                        <a:pt x="43884" y="52112"/>
                        <a:pt x="49369" y="46626"/>
                        <a:pt x="54855" y="46626"/>
                      </a:cubicBezTo>
                      <a:lnTo>
                        <a:pt x="137138" y="46626"/>
                      </a:lnTo>
                      <a:cubicBezTo>
                        <a:pt x="142623" y="46626"/>
                        <a:pt x="148109" y="52112"/>
                        <a:pt x="148109" y="57598"/>
                      </a:cubicBezTo>
                      <a:lnTo>
                        <a:pt x="148109" y="271533"/>
                      </a:lnTo>
                      <a:close/>
                      <a:moveTo>
                        <a:pt x="885914" y="117938"/>
                      </a:moveTo>
                      <a:lnTo>
                        <a:pt x="625351" y="301704"/>
                      </a:lnTo>
                      <a:cubicBezTo>
                        <a:pt x="573238" y="337359"/>
                        <a:pt x="551296" y="329131"/>
                        <a:pt x="496441" y="315418"/>
                      </a:cubicBezTo>
                      <a:cubicBezTo>
                        <a:pt x="488212" y="312675"/>
                        <a:pt x="479984" y="309932"/>
                        <a:pt x="469013" y="307189"/>
                      </a:cubicBezTo>
                      <a:lnTo>
                        <a:pt x="257820" y="249592"/>
                      </a:lnTo>
                      <a:cubicBezTo>
                        <a:pt x="249592" y="246849"/>
                        <a:pt x="241363" y="244106"/>
                        <a:pt x="230392" y="244106"/>
                      </a:cubicBezTo>
                      <a:lnTo>
                        <a:pt x="189251" y="244106"/>
                      </a:lnTo>
                      <a:lnTo>
                        <a:pt x="189251" y="82283"/>
                      </a:lnTo>
                      <a:lnTo>
                        <a:pt x="211193" y="82283"/>
                      </a:lnTo>
                      <a:cubicBezTo>
                        <a:pt x="227649" y="82283"/>
                        <a:pt x="233135" y="82283"/>
                        <a:pt x="252334" y="74054"/>
                      </a:cubicBezTo>
                      <a:cubicBezTo>
                        <a:pt x="326389" y="43884"/>
                        <a:pt x="383987" y="41141"/>
                        <a:pt x="458042" y="109710"/>
                      </a:cubicBezTo>
                      <a:lnTo>
                        <a:pt x="458042" y="109710"/>
                      </a:lnTo>
                      <a:cubicBezTo>
                        <a:pt x="471755" y="120681"/>
                        <a:pt x="479984" y="126167"/>
                        <a:pt x="501926" y="126167"/>
                      </a:cubicBezTo>
                      <a:lnTo>
                        <a:pt x="611637" y="126167"/>
                      </a:lnTo>
                      <a:cubicBezTo>
                        <a:pt x="630837" y="126167"/>
                        <a:pt x="644550" y="139881"/>
                        <a:pt x="644550" y="159080"/>
                      </a:cubicBezTo>
                      <a:cubicBezTo>
                        <a:pt x="644550" y="178280"/>
                        <a:pt x="630837" y="191993"/>
                        <a:pt x="611637" y="191993"/>
                      </a:cubicBezTo>
                      <a:lnTo>
                        <a:pt x="433357" y="191993"/>
                      </a:lnTo>
                      <a:cubicBezTo>
                        <a:pt x="422386" y="191993"/>
                        <a:pt x="411415" y="202964"/>
                        <a:pt x="411415" y="213935"/>
                      </a:cubicBezTo>
                      <a:cubicBezTo>
                        <a:pt x="411415" y="224906"/>
                        <a:pt x="422386" y="235878"/>
                        <a:pt x="433357" y="235878"/>
                      </a:cubicBezTo>
                      <a:lnTo>
                        <a:pt x="611637" y="235878"/>
                      </a:lnTo>
                      <a:cubicBezTo>
                        <a:pt x="652778" y="235878"/>
                        <a:pt x="688435" y="200221"/>
                        <a:pt x="688435" y="159080"/>
                      </a:cubicBezTo>
                      <a:cubicBezTo>
                        <a:pt x="688435" y="153595"/>
                        <a:pt x="688435" y="148109"/>
                        <a:pt x="685692" y="142623"/>
                      </a:cubicBezTo>
                      <a:lnTo>
                        <a:pt x="844772" y="60340"/>
                      </a:lnTo>
                      <a:cubicBezTo>
                        <a:pt x="858486" y="52112"/>
                        <a:pt x="880429" y="54855"/>
                        <a:pt x="888656" y="68569"/>
                      </a:cubicBezTo>
                      <a:cubicBezTo>
                        <a:pt x="905113" y="87768"/>
                        <a:pt x="902370" y="106968"/>
                        <a:pt x="885914" y="117938"/>
                      </a:cubicBezTo>
                      <a:lnTo>
                        <a:pt x="885914" y="117938"/>
                      </a:lnTo>
                      <a:close/>
                    </a:path>
                  </a:pathLst>
                </a:custGeom>
                <a:grpFill/>
                <a:ln w="27426" cap="flat">
                  <a:noFill/>
                  <a:prstDash val="solid"/>
                  <a:miter/>
                </a:ln>
              </p:spPr>
              <p:txBody>
                <a:bodyPr rtlCol="0" anchor="ctr"/>
                <a:lstStyle/>
                <a:p>
                  <a:endParaRPr lang="en-US"/>
                </a:p>
              </p:txBody>
            </p:sp>
            <p:sp>
              <p:nvSpPr>
                <p:cNvPr id="18" name="Freeform 1271">
                  <a:extLst>
                    <a:ext uri="{FF2B5EF4-FFF2-40B4-BE49-F238E27FC236}">
                      <a16:creationId xmlns:a16="http://schemas.microsoft.com/office/drawing/2014/main" id="{A0F976CD-CBB6-4B2E-C939-FB15C001F1F6}"/>
                    </a:ext>
                  </a:extLst>
                </p:cNvPr>
                <p:cNvSpPr/>
                <p:nvPr/>
              </p:nvSpPr>
              <p:spPr>
                <a:xfrm>
                  <a:off x="8803190" y="5374597"/>
                  <a:ext cx="488213" cy="746291"/>
                </a:xfrm>
                <a:custGeom>
                  <a:avLst/>
                  <a:gdLst>
                    <a:gd name="connsiteX0" fmla="*/ 123425 w 488213"/>
                    <a:gd name="connsiteY0" fmla="*/ 513157 h 746291"/>
                    <a:gd name="connsiteX1" fmla="*/ 82283 w 488213"/>
                    <a:gd name="connsiteY1" fmla="*/ 576240 h 746291"/>
                    <a:gd name="connsiteX2" fmla="*/ 128910 w 488213"/>
                    <a:gd name="connsiteY2" fmla="*/ 642066 h 746291"/>
                    <a:gd name="connsiteX3" fmla="*/ 128910 w 488213"/>
                    <a:gd name="connsiteY3" fmla="*/ 674980 h 746291"/>
                    <a:gd name="connsiteX4" fmla="*/ 200223 w 488213"/>
                    <a:gd name="connsiteY4" fmla="*/ 746292 h 746291"/>
                    <a:gd name="connsiteX5" fmla="*/ 296219 w 488213"/>
                    <a:gd name="connsiteY5" fmla="*/ 746292 h 746291"/>
                    <a:gd name="connsiteX6" fmla="*/ 367531 w 488213"/>
                    <a:gd name="connsiteY6" fmla="*/ 674980 h 746291"/>
                    <a:gd name="connsiteX7" fmla="*/ 367531 w 488213"/>
                    <a:gd name="connsiteY7" fmla="*/ 644809 h 746291"/>
                    <a:gd name="connsiteX8" fmla="*/ 414158 w 488213"/>
                    <a:gd name="connsiteY8" fmla="*/ 578983 h 746291"/>
                    <a:gd name="connsiteX9" fmla="*/ 373017 w 488213"/>
                    <a:gd name="connsiteY9" fmla="*/ 515899 h 746291"/>
                    <a:gd name="connsiteX10" fmla="*/ 422386 w 488213"/>
                    <a:gd name="connsiteY10" fmla="*/ 425388 h 746291"/>
                    <a:gd name="connsiteX11" fmla="*/ 488213 w 488213"/>
                    <a:gd name="connsiteY11" fmla="*/ 249851 h 746291"/>
                    <a:gd name="connsiteX12" fmla="*/ 488213 w 488213"/>
                    <a:gd name="connsiteY12" fmla="*/ 227909 h 746291"/>
                    <a:gd name="connsiteX13" fmla="*/ 463528 w 488213"/>
                    <a:gd name="connsiteY13" fmla="*/ 208710 h 746291"/>
                    <a:gd name="connsiteX14" fmla="*/ 444329 w 488213"/>
                    <a:gd name="connsiteY14" fmla="*/ 233395 h 746291"/>
                    <a:gd name="connsiteX15" fmla="*/ 444329 w 488213"/>
                    <a:gd name="connsiteY15" fmla="*/ 252594 h 746291"/>
                    <a:gd name="connsiteX16" fmla="*/ 386730 w 488213"/>
                    <a:gd name="connsiteY16" fmla="*/ 403446 h 746291"/>
                    <a:gd name="connsiteX17" fmla="*/ 329132 w 488213"/>
                    <a:gd name="connsiteY17" fmla="*/ 513157 h 746291"/>
                    <a:gd name="connsiteX18" fmla="*/ 159081 w 488213"/>
                    <a:gd name="connsiteY18" fmla="*/ 513157 h 746291"/>
                    <a:gd name="connsiteX19" fmla="*/ 101483 w 488213"/>
                    <a:gd name="connsiteY19" fmla="*/ 403446 h 746291"/>
                    <a:gd name="connsiteX20" fmla="*/ 43884 w 488213"/>
                    <a:gd name="connsiteY20" fmla="*/ 252594 h 746291"/>
                    <a:gd name="connsiteX21" fmla="*/ 104226 w 488213"/>
                    <a:gd name="connsiteY21" fmla="*/ 101742 h 746291"/>
                    <a:gd name="connsiteX22" fmla="*/ 244106 w 488213"/>
                    <a:gd name="connsiteY22" fmla="*/ 44144 h 746291"/>
                    <a:gd name="connsiteX23" fmla="*/ 244106 w 488213"/>
                    <a:gd name="connsiteY23" fmla="*/ 44144 h 746291"/>
                    <a:gd name="connsiteX24" fmla="*/ 364789 w 488213"/>
                    <a:gd name="connsiteY24" fmla="*/ 82543 h 746291"/>
                    <a:gd name="connsiteX25" fmla="*/ 394958 w 488213"/>
                    <a:gd name="connsiteY25" fmla="*/ 77057 h 746291"/>
                    <a:gd name="connsiteX26" fmla="*/ 389473 w 488213"/>
                    <a:gd name="connsiteY26" fmla="*/ 46887 h 746291"/>
                    <a:gd name="connsiteX27" fmla="*/ 244106 w 488213"/>
                    <a:gd name="connsiteY27" fmla="*/ 260 h 746291"/>
                    <a:gd name="connsiteX28" fmla="*/ 71312 w 488213"/>
                    <a:gd name="connsiteY28" fmla="*/ 68829 h 746291"/>
                    <a:gd name="connsiteX29" fmla="*/ 0 w 488213"/>
                    <a:gd name="connsiteY29" fmla="*/ 249851 h 746291"/>
                    <a:gd name="connsiteX30" fmla="*/ 65826 w 488213"/>
                    <a:gd name="connsiteY30" fmla="*/ 425388 h 746291"/>
                    <a:gd name="connsiteX31" fmla="*/ 123425 w 488213"/>
                    <a:gd name="connsiteY31" fmla="*/ 513157 h 746291"/>
                    <a:gd name="connsiteX32" fmla="*/ 123425 w 488213"/>
                    <a:gd name="connsiteY32" fmla="*/ 513157 h 746291"/>
                    <a:gd name="connsiteX33" fmla="*/ 329132 w 488213"/>
                    <a:gd name="connsiteY33" fmla="*/ 677723 h 746291"/>
                    <a:gd name="connsiteX34" fmla="*/ 301704 w 488213"/>
                    <a:gd name="connsiteY34" fmla="*/ 705150 h 746291"/>
                    <a:gd name="connsiteX35" fmla="*/ 205708 w 488213"/>
                    <a:gd name="connsiteY35" fmla="*/ 705150 h 746291"/>
                    <a:gd name="connsiteX36" fmla="*/ 178280 w 488213"/>
                    <a:gd name="connsiteY36" fmla="*/ 677723 h 746291"/>
                    <a:gd name="connsiteX37" fmla="*/ 178280 w 488213"/>
                    <a:gd name="connsiteY37" fmla="*/ 650295 h 746291"/>
                    <a:gd name="connsiteX38" fmla="*/ 331875 w 488213"/>
                    <a:gd name="connsiteY38" fmla="*/ 650295 h 746291"/>
                    <a:gd name="connsiteX39" fmla="*/ 331875 w 488213"/>
                    <a:gd name="connsiteY39" fmla="*/ 677723 h 746291"/>
                    <a:gd name="connsiteX40" fmla="*/ 153595 w 488213"/>
                    <a:gd name="connsiteY40" fmla="*/ 551555 h 746291"/>
                    <a:gd name="connsiteX41" fmla="*/ 348332 w 488213"/>
                    <a:gd name="connsiteY41" fmla="*/ 551555 h 746291"/>
                    <a:gd name="connsiteX42" fmla="*/ 375759 w 488213"/>
                    <a:gd name="connsiteY42" fmla="*/ 578983 h 746291"/>
                    <a:gd name="connsiteX43" fmla="*/ 348332 w 488213"/>
                    <a:gd name="connsiteY43" fmla="*/ 606411 h 746291"/>
                    <a:gd name="connsiteX44" fmla="*/ 153595 w 488213"/>
                    <a:gd name="connsiteY44" fmla="*/ 606411 h 746291"/>
                    <a:gd name="connsiteX45" fmla="*/ 126167 w 488213"/>
                    <a:gd name="connsiteY45" fmla="*/ 578983 h 746291"/>
                    <a:gd name="connsiteX46" fmla="*/ 153595 w 488213"/>
                    <a:gd name="connsiteY46" fmla="*/ 551555 h 746291"/>
                    <a:gd name="connsiteX47" fmla="*/ 153595 w 488213"/>
                    <a:gd name="connsiteY47" fmla="*/ 551555 h 74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8213" h="746291">
                      <a:moveTo>
                        <a:pt x="123425" y="513157"/>
                      </a:moveTo>
                      <a:cubicBezTo>
                        <a:pt x="98740" y="524128"/>
                        <a:pt x="82283" y="548812"/>
                        <a:pt x="82283" y="576240"/>
                      </a:cubicBezTo>
                      <a:cubicBezTo>
                        <a:pt x="82283" y="606411"/>
                        <a:pt x="101483" y="633838"/>
                        <a:pt x="128910" y="642066"/>
                      </a:cubicBezTo>
                      <a:lnTo>
                        <a:pt x="128910" y="674980"/>
                      </a:lnTo>
                      <a:cubicBezTo>
                        <a:pt x="128910" y="716121"/>
                        <a:pt x="161823" y="746292"/>
                        <a:pt x="200223" y="746292"/>
                      </a:cubicBezTo>
                      <a:lnTo>
                        <a:pt x="296219" y="746292"/>
                      </a:lnTo>
                      <a:cubicBezTo>
                        <a:pt x="337361" y="746292"/>
                        <a:pt x="367531" y="713378"/>
                        <a:pt x="367531" y="674980"/>
                      </a:cubicBezTo>
                      <a:lnTo>
                        <a:pt x="367531" y="644809"/>
                      </a:lnTo>
                      <a:cubicBezTo>
                        <a:pt x="394958" y="633838"/>
                        <a:pt x="414158" y="609153"/>
                        <a:pt x="414158" y="578983"/>
                      </a:cubicBezTo>
                      <a:cubicBezTo>
                        <a:pt x="414158" y="551555"/>
                        <a:pt x="397701" y="526871"/>
                        <a:pt x="373017" y="515899"/>
                      </a:cubicBezTo>
                      <a:cubicBezTo>
                        <a:pt x="381245" y="480243"/>
                        <a:pt x="403187" y="452816"/>
                        <a:pt x="422386" y="425388"/>
                      </a:cubicBezTo>
                      <a:cubicBezTo>
                        <a:pt x="452557" y="381504"/>
                        <a:pt x="488213" y="334877"/>
                        <a:pt x="488213" y="249851"/>
                      </a:cubicBezTo>
                      <a:cubicBezTo>
                        <a:pt x="488213" y="241623"/>
                        <a:pt x="488213" y="233395"/>
                        <a:pt x="488213" y="227909"/>
                      </a:cubicBezTo>
                      <a:cubicBezTo>
                        <a:pt x="488213" y="216938"/>
                        <a:pt x="477241" y="205967"/>
                        <a:pt x="463528" y="208710"/>
                      </a:cubicBezTo>
                      <a:cubicBezTo>
                        <a:pt x="452557" y="208710"/>
                        <a:pt x="441586" y="219681"/>
                        <a:pt x="444329" y="233395"/>
                      </a:cubicBezTo>
                      <a:cubicBezTo>
                        <a:pt x="444329" y="238881"/>
                        <a:pt x="444329" y="247109"/>
                        <a:pt x="444329" y="252594"/>
                      </a:cubicBezTo>
                      <a:cubicBezTo>
                        <a:pt x="444329" y="323906"/>
                        <a:pt x="416901" y="362305"/>
                        <a:pt x="386730" y="403446"/>
                      </a:cubicBezTo>
                      <a:cubicBezTo>
                        <a:pt x="364789" y="433616"/>
                        <a:pt x="340103" y="466529"/>
                        <a:pt x="329132" y="513157"/>
                      </a:cubicBezTo>
                      <a:lnTo>
                        <a:pt x="159081" y="513157"/>
                      </a:lnTo>
                      <a:cubicBezTo>
                        <a:pt x="148109" y="466529"/>
                        <a:pt x="123425" y="436359"/>
                        <a:pt x="101483" y="403446"/>
                      </a:cubicBezTo>
                      <a:cubicBezTo>
                        <a:pt x="71312" y="362305"/>
                        <a:pt x="43884" y="323906"/>
                        <a:pt x="43884" y="252594"/>
                      </a:cubicBezTo>
                      <a:cubicBezTo>
                        <a:pt x="43884" y="175797"/>
                        <a:pt x="76798" y="129170"/>
                        <a:pt x="104226" y="101742"/>
                      </a:cubicBezTo>
                      <a:cubicBezTo>
                        <a:pt x="142624" y="66086"/>
                        <a:pt x="191994" y="44144"/>
                        <a:pt x="244106" y="44144"/>
                      </a:cubicBezTo>
                      <a:cubicBezTo>
                        <a:pt x="244106" y="44144"/>
                        <a:pt x="244106" y="44144"/>
                        <a:pt x="244106" y="44144"/>
                      </a:cubicBezTo>
                      <a:cubicBezTo>
                        <a:pt x="285248" y="44144"/>
                        <a:pt x="329132" y="57858"/>
                        <a:pt x="364789" y="82543"/>
                      </a:cubicBezTo>
                      <a:cubicBezTo>
                        <a:pt x="375759" y="90771"/>
                        <a:pt x="389473" y="88029"/>
                        <a:pt x="394958" y="77057"/>
                      </a:cubicBezTo>
                      <a:cubicBezTo>
                        <a:pt x="403187" y="66086"/>
                        <a:pt x="400444" y="52372"/>
                        <a:pt x="389473" y="46887"/>
                      </a:cubicBezTo>
                      <a:cubicBezTo>
                        <a:pt x="348332" y="16717"/>
                        <a:pt x="296219" y="-2483"/>
                        <a:pt x="244106" y="260"/>
                      </a:cubicBezTo>
                      <a:cubicBezTo>
                        <a:pt x="181023" y="260"/>
                        <a:pt x="117940" y="24945"/>
                        <a:pt x="71312" y="68829"/>
                      </a:cubicBezTo>
                      <a:cubicBezTo>
                        <a:pt x="24685" y="115456"/>
                        <a:pt x="0" y="178539"/>
                        <a:pt x="0" y="249851"/>
                      </a:cubicBezTo>
                      <a:cubicBezTo>
                        <a:pt x="0" y="334877"/>
                        <a:pt x="35656" y="384247"/>
                        <a:pt x="65826" y="425388"/>
                      </a:cubicBezTo>
                      <a:cubicBezTo>
                        <a:pt x="95997" y="452816"/>
                        <a:pt x="115197" y="477500"/>
                        <a:pt x="123425" y="513157"/>
                      </a:cubicBezTo>
                      <a:lnTo>
                        <a:pt x="123425" y="513157"/>
                      </a:lnTo>
                      <a:close/>
                      <a:moveTo>
                        <a:pt x="329132" y="677723"/>
                      </a:moveTo>
                      <a:cubicBezTo>
                        <a:pt x="329132" y="694178"/>
                        <a:pt x="315418" y="705150"/>
                        <a:pt x="301704" y="705150"/>
                      </a:cubicBezTo>
                      <a:lnTo>
                        <a:pt x="205708" y="705150"/>
                      </a:lnTo>
                      <a:cubicBezTo>
                        <a:pt x="189251" y="705150"/>
                        <a:pt x="178280" y="691436"/>
                        <a:pt x="178280" y="677723"/>
                      </a:cubicBezTo>
                      <a:lnTo>
                        <a:pt x="178280" y="650295"/>
                      </a:lnTo>
                      <a:lnTo>
                        <a:pt x="331875" y="650295"/>
                      </a:lnTo>
                      <a:lnTo>
                        <a:pt x="331875" y="677723"/>
                      </a:lnTo>
                      <a:close/>
                      <a:moveTo>
                        <a:pt x="153595" y="551555"/>
                      </a:moveTo>
                      <a:lnTo>
                        <a:pt x="348332" y="551555"/>
                      </a:lnTo>
                      <a:cubicBezTo>
                        <a:pt x="362046" y="551555"/>
                        <a:pt x="375759" y="562526"/>
                        <a:pt x="375759" y="578983"/>
                      </a:cubicBezTo>
                      <a:cubicBezTo>
                        <a:pt x="375759" y="592697"/>
                        <a:pt x="364789" y="606411"/>
                        <a:pt x="348332" y="606411"/>
                      </a:cubicBezTo>
                      <a:lnTo>
                        <a:pt x="153595" y="606411"/>
                      </a:lnTo>
                      <a:cubicBezTo>
                        <a:pt x="139881" y="606411"/>
                        <a:pt x="126167" y="595440"/>
                        <a:pt x="126167" y="578983"/>
                      </a:cubicBezTo>
                      <a:cubicBezTo>
                        <a:pt x="126167" y="562526"/>
                        <a:pt x="139881" y="551555"/>
                        <a:pt x="153595" y="551555"/>
                      </a:cubicBezTo>
                      <a:lnTo>
                        <a:pt x="153595" y="551555"/>
                      </a:lnTo>
                      <a:close/>
                    </a:path>
                  </a:pathLst>
                </a:custGeom>
                <a:grpFill/>
                <a:ln w="27426" cap="flat">
                  <a:noFill/>
                  <a:prstDash val="solid"/>
                  <a:miter/>
                </a:ln>
              </p:spPr>
              <p:txBody>
                <a:bodyPr rtlCol="0" anchor="ctr"/>
                <a:lstStyle/>
                <a:p>
                  <a:endParaRPr lang="en-US"/>
                </a:p>
              </p:txBody>
            </p:sp>
          </p:grpSp>
          <p:sp>
            <p:nvSpPr>
              <p:cNvPr id="8" name="Freeform 1261">
                <a:extLst>
                  <a:ext uri="{FF2B5EF4-FFF2-40B4-BE49-F238E27FC236}">
                    <a16:creationId xmlns:a16="http://schemas.microsoft.com/office/drawing/2014/main" id="{DA45E857-5776-745B-65D4-051B2A088209}"/>
                  </a:ext>
                </a:extLst>
              </p:cNvPr>
              <p:cNvSpPr/>
              <p:nvPr/>
            </p:nvSpPr>
            <p:spPr>
              <a:xfrm>
                <a:off x="9033583" y="5509252"/>
                <a:ext cx="43884" cy="178279"/>
              </a:xfrm>
              <a:custGeom>
                <a:avLst/>
                <a:gdLst>
                  <a:gd name="connsiteX0" fmla="*/ 43884 w 43884"/>
                  <a:gd name="connsiteY0" fmla="*/ 21943 h 178279"/>
                  <a:gd name="connsiteX1" fmla="*/ 21943 w 43884"/>
                  <a:gd name="connsiteY1" fmla="*/ 0 h 178279"/>
                  <a:gd name="connsiteX2" fmla="*/ 0 w 43884"/>
                  <a:gd name="connsiteY2" fmla="*/ 21943 h 178279"/>
                  <a:gd name="connsiteX3" fmla="*/ 0 w 43884"/>
                  <a:gd name="connsiteY3" fmla="*/ 156338 h 178279"/>
                  <a:gd name="connsiteX4" fmla="*/ 21943 w 43884"/>
                  <a:gd name="connsiteY4" fmla="*/ 178280 h 178279"/>
                  <a:gd name="connsiteX5" fmla="*/ 43884 w 43884"/>
                  <a:gd name="connsiteY5" fmla="*/ 156338 h 178279"/>
                  <a:gd name="connsiteX6" fmla="*/ 43884 w 43884"/>
                  <a:gd name="connsiteY6" fmla="*/ 21943 h 1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4" h="178279">
                    <a:moveTo>
                      <a:pt x="43884" y="21943"/>
                    </a:moveTo>
                    <a:cubicBezTo>
                      <a:pt x="43884" y="10971"/>
                      <a:pt x="32914" y="0"/>
                      <a:pt x="21943" y="0"/>
                    </a:cubicBezTo>
                    <a:cubicBezTo>
                      <a:pt x="10972" y="0"/>
                      <a:pt x="0" y="10971"/>
                      <a:pt x="0" y="21943"/>
                    </a:cubicBezTo>
                    <a:lnTo>
                      <a:pt x="0" y="156338"/>
                    </a:lnTo>
                    <a:cubicBezTo>
                      <a:pt x="0" y="167309"/>
                      <a:pt x="10972" y="178280"/>
                      <a:pt x="21943" y="178280"/>
                    </a:cubicBezTo>
                    <a:cubicBezTo>
                      <a:pt x="32914" y="178280"/>
                      <a:pt x="43884" y="167309"/>
                      <a:pt x="43884" y="156338"/>
                    </a:cubicBezTo>
                    <a:lnTo>
                      <a:pt x="43884" y="21943"/>
                    </a:lnTo>
                    <a:close/>
                  </a:path>
                </a:pathLst>
              </a:custGeom>
              <a:grpFill/>
              <a:ln w="27426" cap="flat">
                <a:noFill/>
                <a:prstDash val="solid"/>
                <a:miter/>
              </a:ln>
            </p:spPr>
            <p:txBody>
              <a:bodyPr rtlCol="0" anchor="ctr"/>
              <a:lstStyle/>
              <a:p>
                <a:endParaRPr lang="en-US"/>
              </a:p>
            </p:txBody>
          </p:sp>
          <p:sp>
            <p:nvSpPr>
              <p:cNvPr id="9" name="Freeform 1262">
                <a:extLst>
                  <a:ext uri="{FF2B5EF4-FFF2-40B4-BE49-F238E27FC236}">
                    <a16:creationId xmlns:a16="http://schemas.microsoft.com/office/drawing/2014/main" id="{9500A39D-97A1-D527-3003-4A5C5003F353}"/>
                  </a:ext>
                </a:extLst>
              </p:cNvPr>
              <p:cNvSpPr/>
              <p:nvPr/>
            </p:nvSpPr>
            <p:spPr>
              <a:xfrm>
                <a:off x="9033583" y="5745130"/>
                <a:ext cx="43884" cy="43884"/>
              </a:xfrm>
              <a:custGeom>
                <a:avLst/>
                <a:gdLst>
                  <a:gd name="connsiteX0" fmla="*/ 21943 w 43884"/>
                  <a:gd name="connsiteY0" fmla="*/ 0 h 43884"/>
                  <a:gd name="connsiteX1" fmla="*/ 0 w 43884"/>
                  <a:gd name="connsiteY1" fmla="*/ 21942 h 43884"/>
                  <a:gd name="connsiteX2" fmla="*/ 0 w 43884"/>
                  <a:gd name="connsiteY2" fmla="*/ 21942 h 43884"/>
                  <a:gd name="connsiteX3" fmla="*/ 21943 w 43884"/>
                  <a:gd name="connsiteY3" fmla="*/ 43884 h 43884"/>
                  <a:gd name="connsiteX4" fmla="*/ 43884 w 43884"/>
                  <a:gd name="connsiteY4" fmla="*/ 21942 h 43884"/>
                  <a:gd name="connsiteX5" fmla="*/ 21943 w 43884"/>
                  <a:gd name="connsiteY5" fmla="*/ 0 h 43884"/>
                  <a:gd name="connsiteX6" fmla="*/ 21943 w 43884"/>
                  <a:gd name="connsiteY6" fmla="*/ 0 h 4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4" h="43884">
                    <a:moveTo>
                      <a:pt x="21943" y="0"/>
                    </a:moveTo>
                    <a:cubicBezTo>
                      <a:pt x="10972" y="0"/>
                      <a:pt x="0" y="10971"/>
                      <a:pt x="0" y="21942"/>
                    </a:cubicBezTo>
                    <a:lnTo>
                      <a:pt x="0" y="21942"/>
                    </a:lnTo>
                    <a:cubicBezTo>
                      <a:pt x="0" y="32913"/>
                      <a:pt x="10972" y="43884"/>
                      <a:pt x="21943" y="43884"/>
                    </a:cubicBezTo>
                    <a:cubicBezTo>
                      <a:pt x="32914" y="43884"/>
                      <a:pt x="43884" y="32913"/>
                      <a:pt x="43884" y="21942"/>
                    </a:cubicBezTo>
                    <a:cubicBezTo>
                      <a:pt x="43884" y="8228"/>
                      <a:pt x="32914" y="0"/>
                      <a:pt x="21943" y="0"/>
                    </a:cubicBezTo>
                    <a:lnTo>
                      <a:pt x="21943" y="0"/>
                    </a:lnTo>
                    <a:close/>
                  </a:path>
                </a:pathLst>
              </a:custGeom>
              <a:grpFill/>
              <a:ln w="27426" cap="flat">
                <a:noFill/>
                <a:prstDash val="solid"/>
                <a:miter/>
              </a:ln>
            </p:spPr>
            <p:txBody>
              <a:bodyPr rtlCol="0" anchor="ctr"/>
              <a:lstStyle/>
              <a:p>
                <a:endParaRPr lang="en-US"/>
              </a:p>
            </p:txBody>
          </p:sp>
          <p:sp>
            <p:nvSpPr>
              <p:cNvPr id="10" name="Freeform 1263">
                <a:extLst>
                  <a:ext uri="{FF2B5EF4-FFF2-40B4-BE49-F238E27FC236}">
                    <a16:creationId xmlns:a16="http://schemas.microsoft.com/office/drawing/2014/main" id="{4E7CE471-5D84-F222-34FE-DE41B807DF62}"/>
                  </a:ext>
                </a:extLst>
              </p:cNvPr>
              <p:cNvSpPr/>
              <p:nvPr/>
            </p:nvSpPr>
            <p:spPr>
              <a:xfrm>
                <a:off x="9381914" y="5621705"/>
                <a:ext cx="131652" cy="43884"/>
              </a:xfrm>
              <a:custGeom>
                <a:avLst/>
                <a:gdLst>
                  <a:gd name="connsiteX0" fmla="*/ 109711 w 131652"/>
                  <a:gd name="connsiteY0" fmla="*/ 0 h 43884"/>
                  <a:gd name="connsiteX1" fmla="*/ 21942 w 131652"/>
                  <a:gd name="connsiteY1" fmla="*/ 0 h 43884"/>
                  <a:gd name="connsiteX2" fmla="*/ 0 w 131652"/>
                  <a:gd name="connsiteY2" fmla="*/ 21942 h 43884"/>
                  <a:gd name="connsiteX3" fmla="*/ 21942 w 131652"/>
                  <a:gd name="connsiteY3" fmla="*/ 43884 h 43884"/>
                  <a:gd name="connsiteX4" fmla="*/ 109711 w 131652"/>
                  <a:gd name="connsiteY4" fmla="*/ 43884 h 43884"/>
                  <a:gd name="connsiteX5" fmla="*/ 131653 w 131652"/>
                  <a:gd name="connsiteY5" fmla="*/ 21942 h 43884"/>
                  <a:gd name="connsiteX6" fmla="*/ 109711 w 131652"/>
                  <a:gd name="connsiteY6" fmla="*/ 0 h 43884"/>
                  <a:gd name="connsiteX7" fmla="*/ 109711 w 131652"/>
                  <a:gd name="connsiteY7" fmla="*/ 0 h 4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652" h="43884">
                    <a:moveTo>
                      <a:pt x="109711" y="0"/>
                    </a:moveTo>
                    <a:lnTo>
                      <a:pt x="21942" y="0"/>
                    </a:lnTo>
                    <a:cubicBezTo>
                      <a:pt x="10971" y="0"/>
                      <a:pt x="0" y="10971"/>
                      <a:pt x="0" y="21942"/>
                    </a:cubicBezTo>
                    <a:cubicBezTo>
                      <a:pt x="0" y="32913"/>
                      <a:pt x="10971" y="43884"/>
                      <a:pt x="21942" y="43884"/>
                    </a:cubicBezTo>
                    <a:lnTo>
                      <a:pt x="109711" y="43884"/>
                    </a:lnTo>
                    <a:cubicBezTo>
                      <a:pt x="120682" y="43884"/>
                      <a:pt x="131653" y="32913"/>
                      <a:pt x="131653" y="21942"/>
                    </a:cubicBezTo>
                    <a:cubicBezTo>
                      <a:pt x="131653" y="10971"/>
                      <a:pt x="120682" y="0"/>
                      <a:pt x="109711" y="0"/>
                    </a:cubicBezTo>
                    <a:lnTo>
                      <a:pt x="109711" y="0"/>
                    </a:lnTo>
                    <a:close/>
                  </a:path>
                </a:pathLst>
              </a:custGeom>
              <a:grpFill/>
              <a:ln w="27426" cap="flat">
                <a:noFill/>
                <a:prstDash val="solid"/>
                <a:miter/>
              </a:ln>
            </p:spPr>
            <p:txBody>
              <a:bodyPr rtlCol="0" anchor="ctr"/>
              <a:lstStyle/>
              <a:p>
                <a:endParaRPr lang="en-US"/>
              </a:p>
            </p:txBody>
          </p:sp>
          <p:sp>
            <p:nvSpPr>
              <p:cNvPr id="11" name="Freeform 1264">
                <a:extLst>
                  <a:ext uri="{FF2B5EF4-FFF2-40B4-BE49-F238E27FC236}">
                    <a16:creationId xmlns:a16="http://schemas.microsoft.com/office/drawing/2014/main" id="{4C7C1D39-063B-35C0-9B75-B02B3E762984}"/>
                  </a:ext>
                </a:extLst>
              </p:cNvPr>
              <p:cNvSpPr/>
              <p:nvPr/>
            </p:nvSpPr>
            <p:spPr>
              <a:xfrm>
                <a:off x="9341474" y="5389272"/>
                <a:ext cx="119279" cy="92552"/>
              </a:xfrm>
              <a:custGeom>
                <a:avLst/>
                <a:gdLst>
                  <a:gd name="connsiteX0" fmla="*/ 23984 w 119279"/>
                  <a:gd name="connsiteY0" fmla="*/ 92553 h 92552"/>
                  <a:gd name="connsiteX1" fmla="*/ 34954 w 119279"/>
                  <a:gd name="connsiteY1" fmla="*/ 89810 h 92552"/>
                  <a:gd name="connsiteX2" fmla="*/ 109009 w 119279"/>
                  <a:gd name="connsiteY2" fmla="*/ 40440 h 92552"/>
                  <a:gd name="connsiteX3" fmla="*/ 114495 w 119279"/>
                  <a:gd name="connsiteY3" fmla="*/ 10270 h 92552"/>
                  <a:gd name="connsiteX4" fmla="*/ 84325 w 119279"/>
                  <a:gd name="connsiteY4" fmla="*/ 4785 h 92552"/>
                  <a:gd name="connsiteX5" fmla="*/ 10270 w 119279"/>
                  <a:gd name="connsiteY5" fmla="*/ 54154 h 92552"/>
                  <a:gd name="connsiteX6" fmla="*/ 4785 w 119279"/>
                  <a:gd name="connsiteY6" fmla="*/ 84325 h 92552"/>
                  <a:gd name="connsiteX7" fmla="*/ 23984 w 119279"/>
                  <a:gd name="connsiteY7" fmla="*/ 92553 h 92552"/>
                  <a:gd name="connsiteX8" fmla="*/ 23984 w 119279"/>
                  <a:gd name="connsiteY8" fmla="*/ 92553 h 9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79" h="92552">
                    <a:moveTo>
                      <a:pt x="23984" y="92553"/>
                    </a:moveTo>
                    <a:cubicBezTo>
                      <a:pt x="29469" y="92553"/>
                      <a:pt x="32212" y="92553"/>
                      <a:pt x="34954" y="89810"/>
                    </a:cubicBezTo>
                    <a:lnTo>
                      <a:pt x="109009" y="40440"/>
                    </a:lnTo>
                    <a:cubicBezTo>
                      <a:pt x="119980" y="34954"/>
                      <a:pt x="122723" y="21241"/>
                      <a:pt x="114495" y="10270"/>
                    </a:cubicBezTo>
                    <a:cubicBezTo>
                      <a:pt x="109009" y="-701"/>
                      <a:pt x="95296" y="-3444"/>
                      <a:pt x="84325" y="4785"/>
                    </a:cubicBezTo>
                    <a:lnTo>
                      <a:pt x="10270" y="54154"/>
                    </a:lnTo>
                    <a:cubicBezTo>
                      <a:pt x="-701" y="59640"/>
                      <a:pt x="-3444" y="73354"/>
                      <a:pt x="4785" y="84325"/>
                    </a:cubicBezTo>
                    <a:cubicBezTo>
                      <a:pt x="10270" y="89810"/>
                      <a:pt x="18498" y="92553"/>
                      <a:pt x="23984" y="92553"/>
                    </a:cubicBezTo>
                    <a:lnTo>
                      <a:pt x="23984" y="92553"/>
                    </a:lnTo>
                    <a:close/>
                  </a:path>
                </a:pathLst>
              </a:custGeom>
              <a:grpFill/>
              <a:ln w="27426" cap="flat">
                <a:noFill/>
                <a:prstDash val="solid"/>
                <a:miter/>
              </a:ln>
            </p:spPr>
            <p:txBody>
              <a:bodyPr rtlCol="0" anchor="ctr"/>
              <a:lstStyle/>
              <a:p>
                <a:endParaRPr lang="en-US"/>
              </a:p>
            </p:txBody>
          </p:sp>
          <p:sp>
            <p:nvSpPr>
              <p:cNvPr id="12" name="Freeform 1265">
                <a:extLst>
                  <a:ext uri="{FF2B5EF4-FFF2-40B4-BE49-F238E27FC236}">
                    <a16:creationId xmlns:a16="http://schemas.microsoft.com/office/drawing/2014/main" id="{C161AAA8-7FE9-A1C1-2FD1-B9112A82F171}"/>
                  </a:ext>
                </a:extLst>
              </p:cNvPr>
              <p:cNvSpPr/>
              <p:nvPr/>
            </p:nvSpPr>
            <p:spPr>
              <a:xfrm>
                <a:off x="9343405" y="5808102"/>
                <a:ext cx="117348" cy="90622"/>
              </a:xfrm>
              <a:custGeom>
                <a:avLst/>
                <a:gdLst>
                  <a:gd name="connsiteX0" fmla="*/ 107079 w 117348"/>
                  <a:gd name="connsiteY0" fmla="*/ 52224 h 90622"/>
                  <a:gd name="connsiteX1" fmla="*/ 33024 w 117348"/>
                  <a:gd name="connsiteY1" fmla="*/ 2854 h 90622"/>
                  <a:gd name="connsiteX2" fmla="*/ 2854 w 117348"/>
                  <a:gd name="connsiteY2" fmla="*/ 8340 h 90622"/>
                  <a:gd name="connsiteX3" fmla="*/ 8339 w 117348"/>
                  <a:gd name="connsiteY3" fmla="*/ 38510 h 90622"/>
                  <a:gd name="connsiteX4" fmla="*/ 82394 w 117348"/>
                  <a:gd name="connsiteY4" fmla="*/ 87879 h 90622"/>
                  <a:gd name="connsiteX5" fmla="*/ 93365 w 117348"/>
                  <a:gd name="connsiteY5" fmla="*/ 90622 h 90622"/>
                  <a:gd name="connsiteX6" fmla="*/ 112565 w 117348"/>
                  <a:gd name="connsiteY6" fmla="*/ 79652 h 90622"/>
                  <a:gd name="connsiteX7" fmla="*/ 107079 w 117348"/>
                  <a:gd name="connsiteY7" fmla="*/ 52224 h 90622"/>
                  <a:gd name="connsiteX8" fmla="*/ 107079 w 117348"/>
                  <a:gd name="connsiteY8" fmla="*/ 52224 h 9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348" h="90622">
                    <a:moveTo>
                      <a:pt x="107079" y="52224"/>
                    </a:moveTo>
                    <a:lnTo>
                      <a:pt x="33024" y="2854"/>
                    </a:lnTo>
                    <a:cubicBezTo>
                      <a:pt x="22053" y="-2631"/>
                      <a:pt x="8339" y="111"/>
                      <a:pt x="2854" y="8340"/>
                    </a:cubicBezTo>
                    <a:cubicBezTo>
                      <a:pt x="-2632" y="19310"/>
                      <a:pt x="111" y="33024"/>
                      <a:pt x="8339" y="38510"/>
                    </a:cubicBezTo>
                    <a:lnTo>
                      <a:pt x="82394" y="87879"/>
                    </a:lnTo>
                    <a:cubicBezTo>
                      <a:pt x="85137" y="90622"/>
                      <a:pt x="90622" y="90622"/>
                      <a:pt x="93365" y="90622"/>
                    </a:cubicBezTo>
                    <a:cubicBezTo>
                      <a:pt x="101593" y="90622"/>
                      <a:pt x="107079" y="87879"/>
                      <a:pt x="112565" y="79652"/>
                    </a:cubicBezTo>
                    <a:cubicBezTo>
                      <a:pt x="120793" y="71423"/>
                      <a:pt x="118050" y="57709"/>
                      <a:pt x="107079" y="52224"/>
                    </a:cubicBezTo>
                    <a:lnTo>
                      <a:pt x="107079" y="52224"/>
                    </a:lnTo>
                    <a:close/>
                  </a:path>
                </a:pathLst>
              </a:custGeom>
              <a:grpFill/>
              <a:ln w="27426" cap="flat">
                <a:noFill/>
                <a:prstDash val="solid"/>
                <a:miter/>
              </a:ln>
            </p:spPr>
            <p:txBody>
              <a:bodyPr rtlCol="0" anchor="ctr"/>
              <a:lstStyle/>
              <a:p>
                <a:endParaRPr lang="en-US"/>
              </a:p>
            </p:txBody>
          </p:sp>
          <p:sp>
            <p:nvSpPr>
              <p:cNvPr id="13" name="Freeform 1266">
                <a:extLst>
                  <a:ext uri="{FF2B5EF4-FFF2-40B4-BE49-F238E27FC236}">
                    <a16:creationId xmlns:a16="http://schemas.microsoft.com/office/drawing/2014/main" id="{8130621C-AF79-362D-8523-FE6144E20EB3}"/>
                  </a:ext>
                </a:extLst>
              </p:cNvPr>
              <p:cNvSpPr/>
              <p:nvPr/>
            </p:nvSpPr>
            <p:spPr>
              <a:xfrm>
                <a:off x="8597483" y="5621705"/>
                <a:ext cx="131653" cy="43884"/>
              </a:xfrm>
              <a:custGeom>
                <a:avLst/>
                <a:gdLst>
                  <a:gd name="connsiteX0" fmla="*/ 21943 w 131653"/>
                  <a:gd name="connsiteY0" fmla="*/ 43884 h 43884"/>
                  <a:gd name="connsiteX1" fmla="*/ 109711 w 131653"/>
                  <a:gd name="connsiteY1" fmla="*/ 43884 h 43884"/>
                  <a:gd name="connsiteX2" fmla="*/ 131653 w 131653"/>
                  <a:gd name="connsiteY2" fmla="*/ 21942 h 43884"/>
                  <a:gd name="connsiteX3" fmla="*/ 109711 w 131653"/>
                  <a:gd name="connsiteY3" fmla="*/ 0 h 43884"/>
                  <a:gd name="connsiteX4" fmla="*/ 21943 w 131653"/>
                  <a:gd name="connsiteY4" fmla="*/ 0 h 43884"/>
                  <a:gd name="connsiteX5" fmla="*/ 0 w 131653"/>
                  <a:gd name="connsiteY5" fmla="*/ 21942 h 43884"/>
                  <a:gd name="connsiteX6" fmla="*/ 21943 w 131653"/>
                  <a:gd name="connsiteY6" fmla="*/ 43884 h 43884"/>
                  <a:gd name="connsiteX7" fmla="*/ 21943 w 131653"/>
                  <a:gd name="connsiteY7" fmla="*/ 43884 h 4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653" h="43884">
                    <a:moveTo>
                      <a:pt x="21943" y="43884"/>
                    </a:moveTo>
                    <a:lnTo>
                      <a:pt x="109711" y="43884"/>
                    </a:lnTo>
                    <a:cubicBezTo>
                      <a:pt x="120682" y="43884"/>
                      <a:pt x="131653" y="32913"/>
                      <a:pt x="131653" y="21942"/>
                    </a:cubicBezTo>
                    <a:cubicBezTo>
                      <a:pt x="131653" y="10971"/>
                      <a:pt x="120682" y="0"/>
                      <a:pt x="109711" y="0"/>
                    </a:cubicBezTo>
                    <a:lnTo>
                      <a:pt x="21943" y="0"/>
                    </a:lnTo>
                    <a:cubicBezTo>
                      <a:pt x="10971" y="0"/>
                      <a:pt x="0" y="10971"/>
                      <a:pt x="0" y="21942"/>
                    </a:cubicBezTo>
                    <a:cubicBezTo>
                      <a:pt x="0" y="35656"/>
                      <a:pt x="8229" y="43884"/>
                      <a:pt x="21943" y="43884"/>
                    </a:cubicBezTo>
                    <a:lnTo>
                      <a:pt x="21943" y="43884"/>
                    </a:lnTo>
                    <a:close/>
                  </a:path>
                </a:pathLst>
              </a:custGeom>
              <a:grpFill/>
              <a:ln w="27426" cap="flat">
                <a:noFill/>
                <a:prstDash val="solid"/>
                <a:miter/>
              </a:ln>
            </p:spPr>
            <p:txBody>
              <a:bodyPr rtlCol="0" anchor="ctr"/>
              <a:lstStyle/>
              <a:p>
                <a:endParaRPr lang="en-US"/>
              </a:p>
            </p:txBody>
          </p:sp>
          <p:sp>
            <p:nvSpPr>
              <p:cNvPr id="14" name="Freeform 1267">
                <a:extLst>
                  <a:ext uri="{FF2B5EF4-FFF2-40B4-BE49-F238E27FC236}">
                    <a16:creationId xmlns:a16="http://schemas.microsoft.com/office/drawing/2014/main" id="{60F01A97-D451-9200-4648-54FA8D89B7AD}"/>
                  </a:ext>
                </a:extLst>
              </p:cNvPr>
              <p:cNvSpPr/>
              <p:nvPr/>
            </p:nvSpPr>
            <p:spPr>
              <a:xfrm>
                <a:off x="8648735" y="5388459"/>
                <a:ext cx="116167" cy="93364"/>
              </a:xfrm>
              <a:custGeom>
                <a:avLst/>
                <a:gdLst>
                  <a:gd name="connsiteX0" fmla="*/ 9089 w 116167"/>
                  <a:gd name="connsiteY0" fmla="*/ 41253 h 93364"/>
                  <a:gd name="connsiteX1" fmla="*/ 83143 w 116167"/>
                  <a:gd name="connsiteY1" fmla="*/ 90622 h 93364"/>
                  <a:gd name="connsiteX2" fmla="*/ 94115 w 116167"/>
                  <a:gd name="connsiteY2" fmla="*/ 93365 h 93364"/>
                  <a:gd name="connsiteX3" fmla="*/ 113314 w 116167"/>
                  <a:gd name="connsiteY3" fmla="*/ 82394 h 93364"/>
                  <a:gd name="connsiteX4" fmla="*/ 107828 w 116167"/>
                  <a:gd name="connsiteY4" fmla="*/ 52223 h 93364"/>
                  <a:gd name="connsiteX5" fmla="*/ 33773 w 116167"/>
                  <a:gd name="connsiteY5" fmla="*/ 2854 h 93364"/>
                  <a:gd name="connsiteX6" fmla="*/ 3603 w 116167"/>
                  <a:gd name="connsiteY6" fmla="*/ 8339 h 93364"/>
                  <a:gd name="connsiteX7" fmla="*/ 9089 w 116167"/>
                  <a:gd name="connsiteY7" fmla="*/ 41253 h 93364"/>
                  <a:gd name="connsiteX8" fmla="*/ 9089 w 116167"/>
                  <a:gd name="connsiteY8" fmla="*/ 41253 h 9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67" h="93364">
                    <a:moveTo>
                      <a:pt x="9089" y="41253"/>
                    </a:moveTo>
                    <a:lnTo>
                      <a:pt x="83143" y="90622"/>
                    </a:lnTo>
                    <a:cubicBezTo>
                      <a:pt x="85886" y="93365"/>
                      <a:pt x="91372" y="93365"/>
                      <a:pt x="94115" y="93365"/>
                    </a:cubicBezTo>
                    <a:cubicBezTo>
                      <a:pt x="102343" y="93365"/>
                      <a:pt x="107828" y="90622"/>
                      <a:pt x="113314" y="82394"/>
                    </a:cubicBezTo>
                    <a:cubicBezTo>
                      <a:pt x="118799" y="71423"/>
                      <a:pt x="116056" y="57709"/>
                      <a:pt x="107828" y="52223"/>
                    </a:cubicBezTo>
                    <a:lnTo>
                      <a:pt x="33773" y="2854"/>
                    </a:lnTo>
                    <a:cubicBezTo>
                      <a:pt x="22803" y="-2632"/>
                      <a:pt x="9089" y="111"/>
                      <a:pt x="3603" y="8339"/>
                    </a:cubicBezTo>
                    <a:cubicBezTo>
                      <a:pt x="-1882" y="19311"/>
                      <a:pt x="-1882" y="33025"/>
                      <a:pt x="9089" y="41253"/>
                    </a:cubicBezTo>
                    <a:lnTo>
                      <a:pt x="9089" y="41253"/>
                    </a:lnTo>
                    <a:close/>
                  </a:path>
                </a:pathLst>
              </a:custGeom>
              <a:grpFill/>
              <a:ln w="27426" cap="flat">
                <a:noFill/>
                <a:prstDash val="solid"/>
                <a:miter/>
              </a:ln>
            </p:spPr>
            <p:txBody>
              <a:bodyPr rtlCol="0" anchor="ctr"/>
              <a:lstStyle/>
              <a:p>
                <a:endParaRPr lang="en-US"/>
              </a:p>
            </p:txBody>
          </p:sp>
          <p:sp>
            <p:nvSpPr>
              <p:cNvPr id="15" name="Freeform 1268">
                <a:extLst>
                  <a:ext uri="{FF2B5EF4-FFF2-40B4-BE49-F238E27FC236}">
                    <a16:creationId xmlns:a16="http://schemas.microsoft.com/office/drawing/2014/main" id="{90B6905D-2772-EC1A-F387-A1D2E0953609}"/>
                  </a:ext>
                </a:extLst>
              </p:cNvPr>
              <p:cNvSpPr/>
              <p:nvPr/>
            </p:nvSpPr>
            <p:spPr>
              <a:xfrm>
                <a:off x="8647554" y="5806328"/>
                <a:ext cx="119279" cy="95139"/>
              </a:xfrm>
              <a:custGeom>
                <a:avLst/>
                <a:gdLst>
                  <a:gd name="connsiteX0" fmla="*/ 84324 w 119279"/>
                  <a:gd name="connsiteY0" fmla="*/ 4628 h 95139"/>
                  <a:gd name="connsiteX1" fmla="*/ 10270 w 119279"/>
                  <a:gd name="connsiteY1" fmla="*/ 53998 h 95139"/>
                  <a:gd name="connsiteX2" fmla="*/ 4784 w 119279"/>
                  <a:gd name="connsiteY2" fmla="*/ 84168 h 95139"/>
                  <a:gd name="connsiteX3" fmla="*/ 23984 w 119279"/>
                  <a:gd name="connsiteY3" fmla="*/ 95140 h 95139"/>
                  <a:gd name="connsiteX4" fmla="*/ 34955 w 119279"/>
                  <a:gd name="connsiteY4" fmla="*/ 92397 h 95139"/>
                  <a:gd name="connsiteX5" fmla="*/ 109010 w 119279"/>
                  <a:gd name="connsiteY5" fmla="*/ 43027 h 95139"/>
                  <a:gd name="connsiteX6" fmla="*/ 114495 w 119279"/>
                  <a:gd name="connsiteY6" fmla="*/ 12857 h 95139"/>
                  <a:gd name="connsiteX7" fmla="*/ 84324 w 119279"/>
                  <a:gd name="connsiteY7" fmla="*/ 4628 h 95139"/>
                  <a:gd name="connsiteX8" fmla="*/ 84324 w 119279"/>
                  <a:gd name="connsiteY8" fmla="*/ 4628 h 9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79" h="95139">
                    <a:moveTo>
                      <a:pt x="84324" y="4628"/>
                    </a:moveTo>
                    <a:lnTo>
                      <a:pt x="10270" y="53998"/>
                    </a:lnTo>
                    <a:cubicBezTo>
                      <a:pt x="-701" y="59483"/>
                      <a:pt x="-3444" y="73197"/>
                      <a:pt x="4784" y="84168"/>
                    </a:cubicBezTo>
                    <a:cubicBezTo>
                      <a:pt x="10270" y="89654"/>
                      <a:pt x="15755" y="95140"/>
                      <a:pt x="23984" y="95140"/>
                    </a:cubicBezTo>
                    <a:cubicBezTo>
                      <a:pt x="29469" y="95140"/>
                      <a:pt x="32212" y="95140"/>
                      <a:pt x="34955" y="92397"/>
                    </a:cubicBezTo>
                    <a:lnTo>
                      <a:pt x="109010" y="43027"/>
                    </a:lnTo>
                    <a:cubicBezTo>
                      <a:pt x="119981" y="37542"/>
                      <a:pt x="122723" y="23828"/>
                      <a:pt x="114495" y="12857"/>
                    </a:cubicBezTo>
                    <a:cubicBezTo>
                      <a:pt x="109010" y="-857"/>
                      <a:pt x="95296" y="-3600"/>
                      <a:pt x="84324" y="4628"/>
                    </a:cubicBezTo>
                    <a:lnTo>
                      <a:pt x="84324" y="4628"/>
                    </a:lnTo>
                    <a:close/>
                  </a:path>
                </a:pathLst>
              </a:custGeom>
              <a:grpFill/>
              <a:ln w="27426" cap="flat">
                <a:noFill/>
                <a:prstDash val="solid"/>
                <a:miter/>
              </a:ln>
            </p:spPr>
            <p:txBody>
              <a:bodyPr rtlCol="0" anchor="ctr"/>
              <a:lstStyle/>
              <a:p>
                <a:endParaRPr lang="en-US"/>
              </a:p>
            </p:txBody>
          </p:sp>
          <p:sp>
            <p:nvSpPr>
              <p:cNvPr id="16" name="Freeform 1269">
                <a:extLst>
                  <a:ext uri="{FF2B5EF4-FFF2-40B4-BE49-F238E27FC236}">
                    <a16:creationId xmlns:a16="http://schemas.microsoft.com/office/drawing/2014/main" id="{7ECF04CE-82A2-DA19-7A91-284B4E580E2E}"/>
                  </a:ext>
                </a:extLst>
              </p:cNvPr>
              <p:cNvSpPr/>
              <p:nvPr/>
            </p:nvSpPr>
            <p:spPr>
              <a:xfrm>
                <a:off x="9227940" y="5486624"/>
                <a:ext cx="44949" cy="41827"/>
              </a:xfrm>
              <a:custGeom>
                <a:avLst/>
                <a:gdLst>
                  <a:gd name="connsiteX0" fmla="*/ 5866 w 44949"/>
                  <a:gd name="connsiteY0" fmla="*/ 36342 h 41827"/>
                  <a:gd name="connsiteX1" fmla="*/ 22322 w 44949"/>
                  <a:gd name="connsiteY1" fmla="*/ 41827 h 41827"/>
                  <a:gd name="connsiteX2" fmla="*/ 38778 w 44949"/>
                  <a:gd name="connsiteY2" fmla="*/ 36342 h 41827"/>
                  <a:gd name="connsiteX3" fmla="*/ 38778 w 44949"/>
                  <a:gd name="connsiteY3" fmla="*/ 6171 h 41827"/>
                  <a:gd name="connsiteX4" fmla="*/ 8609 w 44949"/>
                  <a:gd name="connsiteY4" fmla="*/ 6171 h 41827"/>
                  <a:gd name="connsiteX5" fmla="*/ 5866 w 44949"/>
                  <a:gd name="connsiteY5" fmla="*/ 36342 h 41827"/>
                  <a:gd name="connsiteX6" fmla="*/ 5866 w 44949"/>
                  <a:gd name="connsiteY6" fmla="*/ 36342 h 4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49" h="41827">
                    <a:moveTo>
                      <a:pt x="5866" y="36342"/>
                    </a:moveTo>
                    <a:cubicBezTo>
                      <a:pt x="11351" y="41827"/>
                      <a:pt x="16837" y="41827"/>
                      <a:pt x="22322" y="41827"/>
                    </a:cubicBezTo>
                    <a:cubicBezTo>
                      <a:pt x="27807" y="41827"/>
                      <a:pt x="33293" y="39084"/>
                      <a:pt x="38778" y="36342"/>
                    </a:cubicBezTo>
                    <a:cubicBezTo>
                      <a:pt x="47007" y="28114"/>
                      <a:pt x="47007" y="14400"/>
                      <a:pt x="38778" y="6171"/>
                    </a:cubicBezTo>
                    <a:cubicBezTo>
                      <a:pt x="30550" y="-2057"/>
                      <a:pt x="16837" y="-2057"/>
                      <a:pt x="8609" y="6171"/>
                    </a:cubicBezTo>
                    <a:cubicBezTo>
                      <a:pt x="-2363" y="14400"/>
                      <a:pt x="-2363" y="28114"/>
                      <a:pt x="5866" y="36342"/>
                    </a:cubicBezTo>
                    <a:lnTo>
                      <a:pt x="5866" y="36342"/>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942896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6661D6-D865-4D65-1E20-E9FBED74117D}"/>
              </a:ext>
            </a:extLst>
          </p:cNvPr>
          <p:cNvSpPr>
            <a:spLocks noGrp="1"/>
          </p:cNvSpPr>
          <p:nvPr>
            <p:ph type="body" sz="quarter" idx="30"/>
          </p:nvPr>
        </p:nvSpPr>
        <p:spPr/>
        <p:txBody>
          <a:bodyPr/>
          <a:lstStyle/>
          <a:p>
            <a:r>
              <a:rPr lang="en-GB" sz="3600" b="1" dirty="0"/>
              <a:t>Verbesserung von Zusammenarbeit und Teamwork</a:t>
            </a:r>
            <a:endParaRPr lang="en-GB" sz="3600" dirty="0"/>
          </a:p>
        </p:txBody>
      </p:sp>
      <p:sp>
        <p:nvSpPr>
          <p:cNvPr id="3" name="Text Placeholder 2">
            <a:extLst>
              <a:ext uri="{FF2B5EF4-FFF2-40B4-BE49-F238E27FC236}">
                <a16:creationId xmlns:a16="http://schemas.microsoft.com/office/drawing/2014/main" id="{9BC972A0-3F85-1E08-2DEA-B3E5E5F42040}"/>
              </a:ext>
            </a:extLst>
          </p:cNvPr>
          <p:cNvSpPr>
            <a:spLocks noGrp="1"/>
          </p:cNvSpPr>
          <p:nvPr>
            <p:ph type="body" sz="quarter" idx="48"/>
          </p:nvPr>
        </p:nvSpPr>
        <p:spPr/>
        <p:txBody>
          <a:bodyPr/>
          <a:lstStyle/>
          <a:p>
            <a:pPr algn="just"/>
            <a:r>
              <a:rPr lang="en-GB" sz="1800" dirty="0"/>
              <a:t>Design Thinking fördert effektive Zusammenarbeit und Teamwork durch strukturierte Methoden und Praktiken, die Kommunikation, Empathie und Co-Kreation in den Vordergrund stellen. </a:t>
            </a:r>
            <a:r>
              <a:rPr lang="en-GB" sz="1800" b="1" dirty="0"/>
              <a:t>Diverse Teams </a:t>
            </a:r>
            <a:r>
              <a:rPr lang="en-GB" sz="1800" dirty="0"/>
              <a:t>bringen Personen mit unterschiedlichen Fähigkeiten und Fachkenntnissen zusammen und ermöglichen so einen umfassenden Problemlösungsansatz, der die technische Machbarkeit, die Bedürfnisse der Nutzer und die Unternehmensziele berücksichtigt.</a:t>
            </a:r>
          </a:p>
          <a:p>
            <a:pPr algn="just"/>
            <a:endParaRPr lang="en-GB" sz="1800" dirty="0"/>
          </a:p>
          <a:p>
            <a:pPr algn="just"/>
            <a:r>
              <a:rPr lang="en-GB" sz="1800" b="1" dirty="0"/>
              <a:t>Co-Creation </a:t>
            </a:r>
            <a:r>
              <a:rPr lang="en-GB" sz="1800" dirty="0"/>
              <a:t>beinhaltet die aktive Einbeziehung von Interessenvertretern, Endnutzern und Fachleuten in den Designprozess, von der Ideenfindung bis zum Prototyping und Testen. Dieser kollaborative Ansatz stellt sicher, dass die entwickelten Lösungen mit den Erwartungen, Bedürfnissen und Vorlieben der Nutzer übereinstimmen, was ihre Akzeptanz und ihren Erfolg auf dem Markt fördert.</a:t>
            </a:r>
          </a:p>
          <a:p>
            <a:pPr algn="just"/>
            <a:endParaRPr lang="en-GB" sz="1800" dirty="0"/>
          </a:p>
          <a:p>
            <a:pPr algn="just"/>
            <a:r>
              <a:rPr lang="en-GB" sz="1800" b="1" dirty="0"/>
              <a:t>Ständiges Feedback </a:t>
            </a:r>
            <a:r>
              <a:rPr lang="en-GB" sz="1800" dirty="0"/>
              <a:t>ist ein wesentlicher Bestandteil des Design Thinking, bei dem Teams kontinuierlich Ideen austauschen, Anregungen einholen und Lösungen gemeinsam verfeinern. Dieser Prozess verbessert nicht nur die Qualität der Lösungen, sondern stärkt auch die Teamarbeit, indem er ein gemeinsames Gefühl der Verantwortung und des Engagements für das Erreichen gemeinsamer Ziele schafft.</a:t>
            </a:r>
          </a:p>
        </p:txBody>
      </p:sp>
      <p:grpSp>
        <p:nvGrpSpPr>
          <p:cNvPr id="4" name="Group 3">
            <a:extLst>
              <a:ext uri="{FF2B5EF4-FFF2-40B4-BE49-F238E27FC236}">
                <a16:creationId xmlns:a16="http://schemas.microsoft.com/office/drawing/2014/main" id="{C10F6287-7E61-660D-41BA-FD2F79066540}"/>
              </a:ext>
            </a:extLst>
          </p:cNvPr>
          <p:cNvGrpSpPr/>
          <p:nvPr/>
        </p:nvGrpSpPr>
        <p:grpSpPr>
          <a:xfrm>
            <a:off x="10229737" y="681356"/>
            <a:ext cx="1086135" cy="968195"/>
            <a:chOff x="4422991" y="1951890"/>
            <a:chExt cx="1086135" cy="968195"/>
          </a:xfrm>
          <a:solidFill>
            <a:srgbClr val="0F486D"/>
          </a:solidFill>
        </p:grpSpPr>
        <p:sp>
          <p:nvSpPr>
            <p:cNvPr id="5" name="Freeform 1486">
              <a:extLst>
                <a:ext uri="{FF2B5EF4-FFF2-40B4-BE49-F238E27FC236}">
                  <a16:creationId xmlns:a16="http://schemas.microsoft.com/office/drawing/2014/main" id="{1C5569E3-1AAD-1EE0-9244-A7124E26D04E}"/>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6" name="Graphic 3">
              <a:extLst>
                <a:ext uri="{FF2B5EF4-FFF2-40B4-BE49-F238E27FC236}">
                  <a16:creationId xmlns:a16="http://schemas.microsoft.com/office/drawing/2014/main" id="{C610501D-1736-491F-3841-6FEC010CF3BE}"/>
                </a:ext>
              </a:extLst>
            </p:cNvPr>
            <p:cNvGrpSpPr/>
            <p:nvPr/>
          </p:nvGrpSpPr>
          <p:grpSpPr>
            <a:xfrm>
              <a:off x="4738409" y="2001259"/>
              <a:ext cx="466270" cy="416899"/>
              <a:chOff x="4738409" y="2001259"/>
              <a:chExt cx="466270" cy="416899"/>
            </a:xfrm>
            <a:grpFill/>
          </p:grpSpPr>
          <p:sp>
            <p:nvSpPr>
              <p:cNvPr id="7" name="Freeform 1488">
                <a:extLst>
                  <a:ext uri="{FF2B5EF4-FFF2-40B4-BE49-F238E27FC236}">
                    <a16:creationId xmlns:a16="http://schemas.microsoft.com/office/drawing/2014/main" id="{F025FBDE-FD54-F611-89F1-F3E7715AB369}"/>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F99F27"/>
              </a:solidFill>
              <a:ln w="27426" cap="flat">
                <a:noFill/>
                <a:prstDash val="solid"/>
                <a:miter/>
              </a:ln>
            </p:spPr>
            <p:txBody>
              <a:bodyPr rtlCol="0" anchor="ctr"/>
              <a:lstStyle/>
              <a:p>
                <a:endParaRPr lang="en-US"/>
              </a:p>
            </p:txBody>
          </p:sp>
          <p:sp>
            <p:nvSpPr>
              <p:cNvPr id="8" name="Freeform 1489">
                <a:extLst>
                  <a:ext uri="{FF2B5EF4-FFF2-40B4-BE49-F238E27FC236}">
                    <a16:creationId xmlns:a16="http://schemas.microsoft.com/office/drawing/2014/main" id="{861C26A2-6326-9C3A-C243-7B504D9F46CA}"/>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F99F27"/>
              </a:solidFill>
              <a:ln w="27426" cap="flat">
                <a:noFill/>
                <a:prstDash val="solid"/>
                <a:miter/>
              </a:ln>
            </p:spPr>
            <p:txBody>
              <a:bodyPr rtlCol="0" anchor="ctr"/>
              <a:lstStyle/>
              <a:p>
                <a:endParaRPr lang="en-US"/>
              </a:p>
            </p:txBody>
          </p:sp>
          <p:sp>
            <p:nvSpPr>
              <p:cNvPr id="9" name="Freeform 1490">
                <a:extLst>
                  <a:ext uri="{FF2B5EF4-FFF2-40B4-BE49-F238E27FC236}">
                    <a16:creationId xmlns:a16="http://schemas.microsoft.com/office/drawing/2014/main" id="{663439EE-57B4-2380-A42F-31986C755574}"/>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F99F27"/>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304975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18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1800" b="1" dirty="0"/>
              <a:t>: </a:t>
            </a:r>
            <a:r>
              <a:rPr lang="en-GB" sz="1800" dirty="0"/>
              <a:t>Agile Methoden fördern Innovation und nachhaltige industrielle Entwicklung, verbessern die Infrastruktur und schaffen eine integrative Industrialisierung.</a:t>
            </a:r>
          </a:p>
          <a:p>
            <a:pPr algn="just"/>
            <a:endParaRPr lang="en-GB" sz="1800" dirty="0"/>
          </a:p>
          <a:p>
            <a:pPr algn="just"/>
            <a:r>
              <a:rPr lang="en-GB" sz="18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sz="1800" dirty="0"/>
              <a:t>Design Thinking fördert nachhaltige Geschäftspraktiken und nutzerzentrierte Produktdesigns, die Abfall reduzieren und verantwortungsvollen Konsum fördern.</a:t>
            </a:r>
          </a:p>
          <a:p>
            <a:pPr algn="just"/>
            <a:endParaRPr lang="en-GB" sz="1800" dirty="0"/>
          </a:p>
          <a:p>
            <a:pPr algn="just"/>
            <a:r>
              <a:rPr lang="en-GB" sz="1800" b="1" dirty="0">
                <a:solidFill>
                  <a:srgbClr val="0F486D"/>
                </a:solidFill>
                <a:hlinkClick r:id="rId4">
                  <a:extLst>
                    <a:ext uri="{A12FA001-AC4F-418D-AE19-62706E023703}">
                      <ahyp:hlinkClr xmlns:ahyp="http://schemas.microsoft.com/office/drawing/2018/hyperlinkcolor" val="tx"/>
                    </a:ext>
                  </a:extLst>
                </a:hlinkClick>
              </a:rPr>
              <a:t>EntreComp Rahmenwerk: 1.2 Kreativität</a:t>
            </a:r>
            <a:r>
              <a:rPr lang="en-GB" sz="1800" b="1" dirty="0"/>
              <a:t>: </a:t>
            </a:r>
            <a:r>
              <a:rPr lang="en-GB" sz="1800" dirty="0"/>
              <a:t>Agile Methoden stimulieren Kreativität und innovatives Denken, die für eine nachhaltige Entwicklung unerlässlich sind.</a:t>
            </a:r>
          </a:p>
          <a:p>
            <a:pPr algn="just"/>
            <a:endParaRPr lang="en-GB" sz="1600" dirty="0"/>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4274235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769DD6-8E14-400C-465C-622DDCBA4455}"/>
              </a:ext>
            </a:extLst>
          </p:cNvPr>
          <p:cNvGraphicFramePr>
            <a:graphicFrameLocks noChangeAspect="1"/>
          </p:cNvGraphicFramePr>
          <p:nvPr>
            <p:custDataLst>
              <p:tags r:id="rId1"/>
            </p:custDataLst>
            <p:extLst>
              <p:ext uri="{D42A27DB-BD31-4B8C-83A1-F6EECF244321}">
                <p14:modId xmlns:p14="http://schemas.microsoft.com/office/powerpoint/2010/main" val="269801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D176735-974C-0C4E-9553-28F7A7BC99D7}"/>
              </a:ext>
            </a:extLst>
          </p:cNvPr>
          <p:cNvSpPr>
            <a:spLocks noGrp="1"/>
          </p:cNvSpPr>
          <p:nvPr>
            <p:ph type="body" sz="quarter" idx="48"/>
          </p:nvPr>
        </p:nvSpPr>
        <p:spPr>
          <a:xfrm>
            <a:off x="5343786" y="1282437"/>
            <a:ext cx="6610525" cy="5135147"/>
          </a:xfrm>
          <a:solidFill>
            <a:schemeClr val="bg1"/>
          </a:solidFill>
        </p:spPr>
        <p:txBody>
          <a:bodyPr/>
          <a:lstStyle/>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mpathie-Mapping-Workshop</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Zielsetzung: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ntwicklung eines umfassenden Verständnisses der Bedürfnisse, Verhaltensweisen und Erfahrungen der Nutzer.</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Benötigte Materiali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Große Papierbögen, Haftnotizen, Stifte.</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rstellen von Benutzer-Personas</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 Identifizieren oder erstellen Sie Personas auf der Grundlage von echten Benutzerinterviews oder Untersuchungen.</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Erstellen Sie Empathiekart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Zeichnen Sie eine Karte der Empathie, die in vier Quadranten unterteilt ist: "Denken und Fühlen", "Sehen", "Sagen und Tun", "Hören".</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Denken und Fühl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Notieren Sie die Gedanken, Gefühle, Hoffnungen, Ängste und Motivationen des Benutzers.</a:t>
            </a:r>
            <a:b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b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Seh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Dokumentieren Sie, was der Benutzer in seiner Umgebung sieht.</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Sagen und Tu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Zeichnen Sie die gesprochenen Worte und beobachteten Handlungen des Benutzers auf.</a:t>
            </a:r>
          </a:p>
          <a:p>
            <a:pPr marL="0" marR="0" lvl="0" indent="0" defTabSz="3343281"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Hören: </a:t>
            </a:r>
            <a:r>
              <a:rPr kumimoji="0" lang="en-GB"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rPr>
              <a:t>Identifizieren Sie, was der Benutzer aus verschiedenen Quellen hört.</a:t>
            </a:r>
            <a:endParaRPr kumimoji="0" lang="en-IE" sz="1800" b="0" i="0" u="none" strike="noStrike" kern="1200" cap="none" spc="0" normalizeH="0" baseline="0" noProof="0" dirty="0">
              <a:ln>
                <a:noFill/>
              </a:ln>
              <a:solidFill>
                <a:srgbClr val="11496E"/>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pic>
        <p:nvPicPr>
          <p:cNvPr id="2" name="Picture Placeholder 4" descr="Two cute robots">
            <a:extLst>
              <a:ext uri="{FF2B5EF4-FFF2-40B4-BE49-F238E27FC236}">
                <a16:creationId xmlns:a16="http://schemas.microsoft.com/office/drawing/2014/main" id="{DFDEB82E-B138-1F5E-0D95-53933451FF7F}"/>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36217" r="36217"/>
          <a:stretch/>
        </p:blipFill>
        <p:spPr>
          <a:xfrm>
            <a:off x="884238" y="0"/>
            <a:ext cx="3978707" cy="6858000"/>
          </a:xfrm>
        </p:spPr>
      </p:pic>
      <p:sp>
        <p:nvSpPr>
          <p:cNvPr id="3" name="Text Placeholder 2">
            <a:extLst>
              <a:ext uri="{FF2B5EF4-FFF2-40B4-BE49-F238E27FC236}">
                <a16:creationId xmlns:a16="http://schemas.microsoft.com/office/drawing/2014/main" id="{9067A9E3-45DE-AE6F-0A9D-46BD6115DFBD}"/>
              </a:ext>
            </a:extLst>
          </p:cNvPr>
          <p:cNvSpPr>
            <a:spLocks noGrp="1"/>
          </p:cNvSpPr>
          <p:nvPr>
            <p:ph type="body" sz="quarter" idx="30"/>
          </p:nvPr>
        </p:nvSpPr>
        <p:spPr>
          <a:xfrm>
            <a:off x="4378416" y="230541"/>
            <a:ext cx="6776598" cy="842867"/>
          </a:xfrm>
        </p:spPr>
        <p:txBody>
          <a:bodyPr/>
          <a:lstStyle/>
          <a:p>
            <a:r>
              <a:rPr lang="en-IE" dirty="0"/>
              <a:t>PRAKTISCHE ÜBUNG </a:t>
            </a:r>
          </a:p>
        </p:txBody>
      </p:sp>
    </p:spTree>
    <p:extLst>
      <p:ext uri="{BB962C8B-B14F-4D97-AF65-F5344CB8AC3E}">
        <p14:creationId xmlns:p14="http://schemas.microsoft.com/office/powerpoint/2010/main" val="229318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427466" y="569896"/>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439647" y="1333500"/>
            <a:ext cx="4939670" cy="5375163"/>
          </a:xfrm>
        </p:spPr>
        <p:txBody>
          <a:bodyPr/>
          <a:lstStyle/>
          <a:p>
            <a:pPr algn="just"/>
            <a:r>
              <a:rPr lang="en-GB" sz="1800" dirty="0"/>
              <a:t>Um Ihr Verständnis des Design Thinking-Ansatzes und seiner Anwendung in nachhaltigen Geschäftspraktiken zu vertiefen, sollten Sie sich die folgenden Ressourcen ansehen:</a:t>
            </a:r>
          </a:p>
          <a:p>
            <a:pPr algn="just"/>
            <a:endParaRPr lang="en-GB" sz="1800" dirty="0"/>
          </a:p>
          <a:p>
            <a:pPr algn="just"/>
            <a:r>
              <a:rPr lang="en-GB" sz="1800" b="1" dirty="0"/>
              <a:t>Empathie-Mapping: </a:t>
            </a:r>
            <a:r>
              <a:rPr lang="en-GB" sz="1800" dirty="0"/>
              <a:t>Werkzeug zum Verständnis der Perspektive des Publikums durch visuelle Darstellung von Gedanken und Emotionen. </a:t>
            </a:r>
          </a:p>
          <a:p>
            <a:pPr algn="just"/>
            <a:r>
              <a:rPr lang="en-GB" sz="1800" dirty="0">
                <a:hlinkClick r:id="rId2"/>
              </a:rPr>
              <a:t>Mehr lesen</a:t>
            </a:r>
            <a:endParaRPr lang="en-IE" sz="1800" dirty="0"/>
          </a:p>
          <a:p>
            <a:pPr algn="just"/>
            <a:endParaRPr lang="en-GB" sz="1800" dirty="0"/>
          </a:p>
          <a:p>
            <a:pPr algn="just"/>
            <a:r>
              <a:rPr lang="en-GB" sz="1800" b="1" dirty="0"/>
              <a:t>Leitfaden für Co-Design: </a:t>
            </a:r>
            <a:r>
              <a:rPr lang="en-GB" sz="1800" dirty="0"/>
              <a:t>Erfahren Sie, wie Sie einen partizipativen Designprozess gestalten können. </a:t>
            </a:r>
            <a:r>
              <a:rPr lang="en-GB" sz="1800" dirty="0">
                <a:hlinkClick r:id="rId3"/>
              </a:rPr>
              <a:t>Mehr lesen</a:t>
            </a:r>
            <a:endParaRPr lang="en-GB" sz="1800" dirty="0"/>
          </a:p>
          <a:p>
            <a:pPr algn="just"/>
            <a:endParaRPr lang="en-GB" sz="1800" dirty="0"/>
          </a:p>
          <a:p>
            <a:pPr algn="just"/>
            <a:r>
              <a:rPr lang="en-GB" sz="1800" b="1" dirty="0"/>
              <a:t>Prototyping im Design Thinking: </a:t>
            </a:r>
            <a:r>
              <a:rPr lang="en-GB" sz="1800" b="0" i="0" dirty="0">
                <a:solidFill>
                  <a:srgbClr val="0F486D"/>
                </a:solidFill>
                <a:effectLst/>
                <a:highlight>
                  <a:srgbClr val="FFFFFF"/>
                </a:highlight>
                <a:latin typeface="ff-real-text-pro"/>
              </a:rPr>
              <a:t>Ein Leitfaden für das Prototyping mit Hilfe von Design Thinking</a:t>
            </a:r>
            <a:r>
              <a:rPr lang="en-GB" sz="1800" dirty="0"/>
              <a:t>. </a:t>
            </a:r>
            <a:r>
              <a:rPr lang="en-GB" sz="1800" dirty="0">
                <a:hlinkClick r:id="rId4"/>
              </a:rPr>
              <a:t>Mehr lesen</a:t>
            </a:r>
            <a:endParaRPr lang="en-GB" sz="1800" dirty="0"/>
          </a:p>
          <a:p>
            <a:pPr algn="just"/>
            <a:endParaRPr lang="en-GB" sz="1600" b="1" dirty="0"/>
          </a:p>
        </p:txBody>
      </p:sp>
      <p:pic>
        <p:nvPicPr>
          <p:cNvPr id="2" name="Picture Placeholder 5">
            <a:extLst>
              <a:ext uri="{FF2B5EF4-FFF2-40B4-BE49-F238E27FC236}">
                <a16:creationId xmlns:a16="http://schemas.microsoft.com/office/drawing/2014/main" id="{8FB4DBBA-2A77-D717-D96D-96D389070751}"/>
              </a:ext>
            </a:extLst>
          </p:cNvPr>
          <p:cNvPicPr>
            <a:picLocks noGrp="1" noChangeAspect="1"/>
          </p:cNvPicPr>
          <p:nvPr>
            <p:ph type="pic" sz="quarter" idx="21"/>
          </p:nvPr>
        </p:nvPicPr>
        <p:blipFill>
          <a:blip r:embed="rId5"/>
          <a:srcRect l="11877" r="11877"/>
          <a:stretch>
            <a:fillRect/>
          </a:stretch>
        </p:blipFill>
        <p:spPr>
          <a:xfrm>
            <a:off x="0" y="0"/>
            <a:ext cx="5875338" cy="6858000"/>
          </a:xfrm>
        </p:spPr>
      </p:pic>
    </p:spTree>
    <p:extLst>
      <p:ext uri="{BB962C8B-B14F-4D97-AF65-F5344CB8AC3E}">
        <p14:creationId xmlns:p14="http://schemas.microsoft.com/office/powerpoint/2010/main" val="5671130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4A2C30-997B-CC22-BDF9-B332A3EC0A49}"/>
              </a:ext>
            </a:extLst>
          </p:cNvPr>
          <p:cNvGraphicFramePr>
            <a:graphicFrameLocks noChangeAspect="1"/>
          </p:cNvGraphicFramePr>
          <p:nvPr>
            <p:custDataLst>
              <p:tags r:id="rId1"/>
            </p:custDataLst>
            <p:extLst>
              <p:ext uri="{D42A27DB-BD31-4B8C-83A1-F6EECF244321}">
                <p14:modId xmlns:p14="http://schemas.microsoft.com/office/powerpoint/2010/main" val="3014507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CPU with binary numbers and blueprint">
            <a:extLst>
              <a:ext uri="{FF2B5EF4-FFF2-40B4-BE49-F238E27FC236}">
                <a16:creationId xmlns:a16="http://schemas.microsoft.com/office/drawing/2014/main" id="{23771E56-F5C4-3488-ACB1-34665F1CB705}"/>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l="1123" r="112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INTEGRATION VON TECHNOLOGIE</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6" name="Group 7">
            <a:extLst>
              <a:ext uri="{FF2B5EF4-FFF2-40B4-BE49-F238E27FC236}">
                <a16:creationId xmlns:a16="http://schemas.microsoft.com/office/drawing/2014/main" id="{FB300A0F-51C2-E812-48E2-07DD8F161874}"/>
              </a:ext>
            </a:extLst>
          </p:cNvPr>
          <p:cNvGrpSpPr/>
          <p:nvPr/>
        </p:nvGrpSpPr>
        <p:grpSpPr>
          <a:xfrm rot="5400000">
            <a:off x="-1445174" y="567935"/>
            <a:ext cx="5074615" cy="2369127"/>
            <a:chOff x="-1871944" y="1778846"/>
            <a:chExt cx="1736764" cy="810823"/>
          </a:xfrm>
          <a:solidFill>
            <a:schemeClr val="bg1">
              <a:alpha val="56867"/>
            </a:schemeClr>
          </a:solidFill>
        </p:grpSpPr>
        <p:sp>
          <p:nvSpPr>
            <p:cNvPr id="7" name="Freeform 8">
              <a:extLst>
                <a:ext uri="{FF2B5EF4-FFF2-40B4-BE49-F238E27FC236}">
                  <a16:creationId xmlns:a16="http://schemas.microsoft.com/office/drawing/2014/main" id="{A3DE91E1-3ADF-3A1A-DC3F-C9203C9C8CF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BDBEC7EA-8333-4D5F-CC2B-6D6F24F4315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39B60561-A4FF-39B4-A3C8-9F1B59A87D47}"/>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6870B4F4-FC9D-6C6C-F20E-E5C28E123A03}"/>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1A4BE7A4-0E81-34AC-AD26-7900C45667FB}"/>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3" name="Freeform 15">
              <a:extLst>
                <a:ext uri="{FF2B5EF4-FFF2-40B4-BE49-F238E27FC236}">
                  <a16:creationId xmlns:a16="http://schemas.microsoft.com/office/drawing/2014/main" id="{9F897426-16AE-02B1-E4D5-319A9EAB942E}"/>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9845205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1EF4C64-A884-C10A-6C9D-E6192CA1F471}"/>
              </a:ext>
            </a:extLst>
          </p:cNvPr>
          <p:cNvGraphicFramePr>
            <a:graphicFrameLocks noChangeAspect="1"/>
          </p:cNvGraphicFramePr>
          <p:nvPr>
            <p:custDataLst>
              <p:tags r:id="rId1"/>
            </p:custDataLst>
            <p:extLst>
              <p:ext uri="{D42A27DB-BD31-4B8C-83A1-F6EECF244321}">
                <p14:modId xmlns:p14="http://schemas.microsoft.com/office/powerpoint/2010/main" val="24867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6</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19825" y="1619635"/>
            <a:ext cx="5212055" cy="4482902"/>
          </a:xfrm>
        </p:spPr>
        <p:txBody>
          <a:bodyPr/>
          <a:lstStyle/>
          <a:p>
            <a:pPr algn="just"/>
            <a:r>
              <a:rPr lang="en-GB" sz="2000" dirty="0"/>
              <a:t>Das Verständnis aktueller Technologietrends und ihrer Anwendungen in Unternehmen ist entscheidend, um wettbewerbsfähig zu bleiben. </a:t>
            </a:r>
          </a:p>
          <a:p>
            <a:pPr algn="just"/>
            <a:endParaRPr lang="en-GB" sz="2000" dirty="0"/>
          </a:p>
          <a:p>
            <a:pPr algn="just"/>
            <a:r>
              <a:rPr lang="en-GB" sz="2000" dirty="0"/>
              <a:t>Aufstrebende Technologien wie Künstliche Intelligenz (KI), Internet der Dinge (IoT), Blockchain und Cloud Computing verändern die Industrie, indem sie die Effizienz steigern, Innovationen ermöglichen und neue Geschäftsmodelle schaffen. </a:t>
            </a:r>
          </a:p>
          <a:p>
            <a:pPr algn="just"/>
            <a:endParaRPr lang="en-GB" sz="1800" dirty="0"/>
          </a:p>
        </p:txBody>
      </p:sp>
      <p:sp>
        <p:nvSpPr>
          <p:cNvPr id="2" name="Flowchart: Delay 1">
            <a:extLst>
              <a:ext uri="{FF2B5EF4-FFF2-40B4-BE49-F238E27FC236}">
                <a16:creationId xmlns:a16="http://schemas.microsoft.com/office/drawing/2014/main" id="{D5D85CBF-DC84-99AA-BDA5-DDD76EC7854F}"/>
              </a:ext>
            </a:extLst>
          </p:cNvPr>
          <p:cNvSpPr/>
          <p:nvPr/>
        </p:nvSpPr>
        <p:spPr>
          <a:xfrm>
            <a:off x="5875886" y="5209841"/>
            <a:ext cx="5740056" cy="1442831"/>
          </a:xfrm>
          <a:prstGeom prst="flowChartDelay">
            <a:avLst/>
          </a:prstGeom>
          <a:solidFill>
            <a:srgbClr val="60BA4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endParaRPr lang="en-GB" sz="1400" b="1" dirty="0">
              <a:latin typeface="Calibri" panose="020F0502020204030204" pitchFamily="34" charset="0"/>
              <a:ea typeface="Calibri" panose="020F0502020204030204" pitchFamily="34" charset="0"/>
              <a:cs typeface="Calibri" panose="020F0502020204030204" pitchFamily="34" charset="0"/>
            </a:endParaRPr>
          </a:p>
          <a:p>
            <a:pPr marL="252000" algn="just"/>
            <a:r>
              <a:rPr lang="en-GB" sz="1400" b="1" dirty="0">
                <a:latin typeface="Calibri" panose="020F0502020204030204" pitchFamily="34" charset="0"/>
                <a:ea typeface="Calibri" panose="020F0502020204030204" pitchFamily="34" charset="0"/>
                <a:cs typeface="Calibri" panose="020F0502020204030204" pitchFamily="34" charset="0"/>
              </a:rPr>
              <a:t>Z.B.: KI kann für die Datenanalyse und die Automatisierung des Kundendienstes eingesetzt werden, IoT für intelligente Logistik, Blockchain für sichere Transaktionen und Cloud Computing für skalierbare IT-Lösungen.</a:t>
            </a:r>
          </a:p>
          <a:p>
            <a:pPr marL="252000" algn="just"/>
            <a:endParaRPr lang="en-GB" sz="1400" b="1" dirty="0">
              <a:latin typeface="Calibri" panose="020F0502020204030204" pitchFamily="34" charset="0"/>
              <a:ea typeface="Calibri" panose="020F0502020204030204" pitchFamily="34" charset="0"/>
              <a:cs typeface="Calibri" panose="020F0502020204030204" pitchFamily="34" charset="0"/>
            </a:endParaRPr>
          </a:p>
        </p:txBody>
      </p:sp>
      <p:pic>
        <p:nvPicPr>
          <p:cNvPr id="3" name="Picture Placeholder 8" descr="Circuit board">
            <a:extLst>
              <a:ext uri="{FF2B5EF4-FFF2-40B4-BE49-F238E27FC236}">
                <a16:creationId xmlns:a16="http://schemas.microsoft.com/office/drawing/2014/main" id="{6DCE87CF-7501-0661-C17B-1CA97BE61271}"/>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696" r="25696"/>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1220938"/>
          </a:xfrm>
        </p:spPr>
        <p:txBody>
          <a:bodyPr/>
          <a:lstStyle/>
          <a:p>
            <a:r>
              <a:rPr lang="en-US" dirty="0"/>
              <a:t>TECHNOLOGIEINTEGRATION FÜR NACHHALTIGKEIT</a:t>
            </a:r>
          </a:p>
        </p:txBody>
      </p:sp>
    </p:spTree>
    <p:extLst>
      <p:ext uri="{BB962C8B-B14F-4D97-AF65-F5344CB8AC3E}">
        <p14:creationId xmlns:p14="http://schemas.microsoft.com/office/powerpoint/2010/main" val="146350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15285" y="565210"/>
            <a:ext cx="4951851" cy="1279970"/>
          </a:xfrm>
        </p:spPr>
        <p:txBody>
          <a:bodyPr/>
          <a:lstStyle/>
          <a:p>
            <a:r>
              <a:rPr lang="en-GB" dirty="0"/>
              <a:t>BEDARFSERMITTLUNG</a:t>
            </a:r>
            <a:endParaRPr lang="en-US"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380067"/>
            <a:ext cx="4939670" cy="4647978"/>
          </a:xfrm>
        </p:spPr>
        <p:txBody>
          <a:bodyPr/>
          <a:lstStyle/>
          <a:p>
            <a:pPr algn="just"/>
            <a:r>
              <a:rPr lang="en-GB" sz="2200" dirty="0"/>
              <a:t>Vor der Integration von Technologie ist es wichtig, eine gründliche Bewertung der spezifischen geschäftlichen Herausforderungen vorzunehmen, die durch Technologie gelöst werden können. </a:t>
            </a:r>
          </a:p>
          <a:p>
            <a:pPr algn="just"/>
            <a:endParaRPr lang="en-GB" sz="2200" dirty="0"/>
          </a:p>
          <a:p>
            <a:pPr algn="just"/>
            <a:r>
              <a:rPr lang="en-GB" sz="2200" dirty="0"/>
              <a:t>Dazu gehört die Ermittlung von Problemen, Ineffizienzen oder Verbesserungsmöglichkeiten in verschiedenen Abteilungen oder Prozessen. </a:t>
            </a:r>
          </a:p>
          <a:p>
            <a:pPr algn="just"/>
            <a:endParaRPr lang="en-GB"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Flowchart: Delay 1">
            <a:extLst>
              <a:ext uri="{FF2B5EF4-FFF2-40B4-BE49-F238E27FC236}">
                <a16:creationId xmlns:a16="http://schemas.microsoft.com/office/drawing/2014/main" id="{0C70AC6A-A1AB-5E37-A645-0A9223139DBE}"/>
              </a:ext>
            </a:extLst>
          </p:cNvPr>
          <p:cNvSpPr/>
          <p:nvPr/>
        </p:nvSpPr>
        <p:spPr>
          <a:xfrm>
            <a:off x="5875886" y="4836286"/>
            <a:ext cx="5740056" cy="1442831"/>
          </a:xfrm>
          <a:prstGeom prst="flowChartDelay">
            <a:avLst/>
          </a:prstGeom>
          <a:solidFill>
            <a:srgbClr val="2094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r>
              <a:rPr lang="en-GB" sz="1600" b="1" dirty="0">
                <a:latin typeface="Calibri" panose="020F0502020204030204" pitchFamily="34" charset="0"/>
                <a:ea typeface="Calibri" panose="020F0502020204030204" pitchFamily="34" charset="0"/>
                <a:cs typeface="Calibri" panose="020F0502020204030204" pitchFamily="34" charset="0"/>
              </a:rPr>
              <a:t>Z.B.: Ein Fertigungsunternehmen könnte Probleme bei der Qualitätskontrolle erkennen, die mit IoT-Sensoren für die Echtzeitüberwachung gemildert werden könnten.</a:t>
            </a:r>
          </a:p>
        </p:txBody>
      </p:sp>
      <p:pic>
        <p:nvPicPr>
          <p:cNvPr id="3" name="Picture Placeholder 4" descr="Teacher pointing at laptop screen to young students">
            <a:extLst>
              <a:ext uri="{FF2B5EF4-FFF2-40B4-BE49-F238E27FC236}">
                <a16:creationId xmlns:a16="http://schemas.microsoft.com/office/drawing/2014/main" id="{5B35B7FB-C615-F004-B8D4-59845E91274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3294281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71850"/>
            <a:ext cx="5764534" cy="1279970"/>
          </a:xfrm>
        </p:spPr>
        <p:txBody>
          <a:bodyPr/>
          <a:lstStyle/>
          <a:p>
            <a:r>
              <a:rPr lang="en-US" sz="3200" dirty="0"/>
              <a:t>AUSWAHL DER TECHNOLOGIE</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72698" y="1092200"/>
            <a:ext cx="5296280" cy="4935845"/>
          </a:xfrm>
        </p:spPr>
        <p:txBody>
          <a:bodyPr/>
          <a:lstStyle/>
          <a:p>
            <a:pPr algn="just"/>
            <a:r>
              <a:rPr lang="en-GB" sz="2000" dirty="0"/>
              <a:t>Sobald der Bedarf ermittelt ist, besteht der nächste Schritt darin, die geeigneten Technologielösungen auszuwählen, die mit den Unternehmenszielen übereinstimmen. </a:t>
            </a:r>
          </a:p>
          <a:p>
            <a:pPr algn="just"/>
            <a:endParaRPr lang="en-GB" sz="2000" dirty="0"/>
          </a:p>
          <a:p>
            <a:pPr algn="just"/>
            <a:r>
              <a:rPr lang="en-GB" sz="2000" dirty="0"/>
              <a:t>Dazu müssen verschiedene technologische Optionen auf der Grundlage von Faktoren wie Funktionalität, Skalierbarkeit, Kompatibilität mit bestehenden Systemen, Kosteneffizienz und potenzieller Kapitalrendite (ROI) bewertet werden. </a:t>
            </a:r>
          </a:p>
          <a:p>
            <a:pPr algn="just"/>
            <a:endParaRPr lang="en-GB"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Flowchart: Delay 1">
            <a:extLst>
              <a:ext uri="{FF2B5EF4-FFF2-40B4-BE49-F238E27FC236}">
                <a16:creationId xmlns:a16="http://schemas.microsoft.com/office/drawing/2014/main" id="{785B8A0D-0381-C11B-EE43-9AE273478546}"/>
              </a:ext>
            </a:extLst>
          </p:cNvPr>
          <p:cNvSpPr/>
          <p:nvPr/>
        </p:nvSpPr>
        <p:spPr>
          <a:xfrm>
            <a:off x="5875886" y="4979726"/>
            <a:ext cx="5740056" cy="1442831"/>
          </a:xfrm>
          <a:prstGeom prst="flowChartDelay">
            <a:avLst/>
          </a:prstGeom>
          <a:solidFill>
            <a:srgbClr val="DB17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r>
              <a:rPr lang="en-GB" sz="1600" b="1" dirty="0">
                <a:latin typeface="Calibri" panose="020F0502020204030204" pitchFamily="34" charset="0"/>
                <a:ea typeface="Calibri" panose="020F0502020204030204" pitchFamily="34" charset="0"/>
                <a:cs typeface="Calibri" panose="020F0502020204030204" pitchFamily="34" charset="0"/>
              </a:rPr>
              <a:t>BEISPIEL: Ein Logistikunternehmen könnte sich für die Einführung eines cloudbasierten Logistikmanagementsystems entscheiden, um die Abläufe zu rationalisieren und die Genauigkeit der Sendungsverfolgung zu verbessern.</a:t>
            </a:r>
          </a:p>
        </p:txBody>
      </p:sp>
      <p:pic>
        <p:nvPicPr>
          <p:cNvPr id="3" name="Picture Placeholder 4" descr="Traffic light trails at night">
            <a:extLst>
              <a:ext uri="{FF2B5EF4-FFF2-40B4-BE49-F238E27FC236}">
                <a16:creationId xmlns:a16="http://schemas.microsoft.com/office/drawing/2014/main" id="{220138A5-0727-F2DB-8A0B-3CF51F3CA6BE}"/>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2" r="21442"/>
          <a:stretch/>
        </p:blipFill>
        <p:spPr>
          <a:xfrm>
            <a:off x="-28575" y="0"/>
            <a:ext cx="5876925" cy="6858000"/>
          </a:xfrm>
        </p:spPr>
      </p:pic>
    </p:spTree>
    <p:extLst>
      <p:ext uri="{BB962C8B-B14F-4D97-AF65-F5344CB8AC3E}">
        <p14:creationId xmlns:p14="http://schemas.microsoft.com/office/powerpoint/2010/main" val="3173112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189970"/>
            <a:ext cx="4951851" cy="1279970"/>
          </a:xfrm>
        </p:spPr>
        <p:txBody>
          <a:bodyPr/>
          <a:lstStyle/>
          <a:p>
            <a:r>
              <a:rPr lang="en-US" dirty="0"/>
              <a:t>UMSETZUNGSPLA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28296" y="1058333"/>
            <a:ext cx="5287645" cy="2891328"/>
          </a:xfrm>
        </p:spPr>
        <p:txBody>
          <a:bodyPr/>
          <a:lstStyle/>
          <a:p>
            <a:pPr algn="just"/>
            <a:r>
              <a:rPr lang="en-GB" sz="2000" dirty="0"/>
              <a:t>Die Entwicklung eines umfassenden Implementierungsplans ist entscheidend für die erfolgreiche Integration von Technologie. </a:t>
            </a:r>
          </a:p>
          <a:p>
            <a:pPr algn="just"/>
            <a:endParaRPr lang="en-GB" sz="2000" dirty="0"/>
          </a:p>
          <a:p>
            <a:pPr algn="just"/>
            <a:r>
              <a:rPr lang="en-GB" sz="2000" dirty="0"/>
              <a:t>Dieser Plan sollte einen schrittweisen Ansatz für die Einführung der Technologielösung skizzieren, einschließlich Zeitvorgaben, Meilensteinen und Ressourcenzuweisung. Er sollte auch auf potenzielle Risiken und Strategien zur Risikominderung eingehen, um eine reibungslose Umsetzung zu gewährleisten. </a:t>
            </a:r>
          </a:p>
          <a:p>
            <a:pPr algn="just"/>
            <a:endParaRPr lang="en-GB"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4" name="Flowchart: Delay 3">
            <a:extLst>
              <a:ext uri="{FF2B5EF4-FFF2-40B4-BE49-F238E27FC236}">
                <a16:creationId xmlns:a16="http://schemas.microsoft.com/office/drawing/2014/main" id="{E38235DC-A0C7-549D-68D5-EA4FA4724BF9}"/>
              </a:ext>
            </a:extLst>
          </p:cNvPr>
          <p:cNvSpPr/>
          <p:nvPr/>
        </p:nvSpPr>
        <p:spPr>
          <a:xfrm>
            <a:off x="5875886" y="4929747"/>
            <a:ext cx="5740056" cy="1442831"/>
          </a:xfrm>
          <a:prstGeom prst="flowChartDelay">
            <a:avLst/>
          </a:prstGeom>
          <a:solidFill>
            <a:srgbClr val="F99F2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r>
              <a:rPr lang="en-GB" sz="1600" b="1" dirty="0">
                <a:latin typeface="Calibri" panose="020F0502020204030204" pitchFamily="34" charset="0"/>
                <a:ea typeface="Calibri" panose="020F0502020204030204" pitchFamily="34" charset="0"/>
                <a:cs typeface="Calibri" panose="020F0502020204030204" pitchFamily="34" charset="0"/>
              </a:rPr>
              <a:t>BEISPIEL: Ein E-Commerce-Unternehmen, das die Einführung eines neuen CRM-Systems plant, würde einen Implementierungsplan erstellen, der Phasen für die Datenmigration, die Benutzerschulung und die Systemprüfung umfasst.</a:t>
            </a:r>
          </a:p>
        </p:txBody>
      </p:sp>
      <p:pic>
        <p:nvPicPr>
          <p:cNvPr id="2" name="Picture Placeholder 4" descr="Colorful steps and arrow">
            <a:extLst>
              <a:ext uri="{FF2B5EF4-FFF2-40B4-BE49-F238E27FC236}">
                <a16:creationId xmlns:a16="http://schemas.microsoft.com/office/drawing/2014/main" id="{957233AF-F21C-BD41-3E29-4299275EA3DC}"/>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t="93" b="93"/>
          <a:stretch/>
        </p:blipFill>
        <p:spPr>
          <a:xfrm>
            <a:off x="0" y="0"/>
            <a:ext cx="5875338" cy="6858000"/>
          </a:xfrm>
        </p:spPr>
      </p:pic>
    </p:spTree>
    <p:extLst>
      <p:ext uri="{BB962C8B-B14F-4D97-AF65-F5344CB8AC3E}">
        <p14:creationId xmlns:p14="http://schemas.microsoft.com/office/powerpoint/2010/main" val="4203991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AD5DF5-6614-2903-91AF-BBD38C57AB0A}"/>
              </a:ext>
            </a:extLst>
          </p:cNvPr>
          <p:cNvGraphicFramePr>
            <a:graphicFrameLocks noChangeAspect="1"/>
          </p:cNvGraphicFramePr>
          <p:nvPr>
            <p:custDataLst>
              <p:tags r:id="rId1"/>
            </p:custDataLst>
            <p:extLst>
              <p:ext uri="{D42A27DB-BD31-4B8C-83A1-F6EECF244321}">
                <p14:modId xmlns:p14="http://schemas.microsoft.com/office/powerpoint/2010/main" val="159498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descr="Engineers with digital tablet and projected plans">
            <a:extLst>
              <a:ext uri="{FF2B5EF4-FFF2-40B4-BE49-F238E27FC236}">
                <a16:creationId xmlns:a16="http://schemas.microsoft.com/office/drawing/2014/main" id="{2B700B25-5695-DF4F-30C5-9AD2EE329B95}"/>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696" r="25696"/>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17364"/>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353231"/>
            <a:ext cx="5245411" cy="4271810"/>
          </a:xfrm>
        </p:spPr>
        <p:txBody>
          <a:bodyPr/>
          <a:lstStyle/>
          <a:p>
            <a:pPr algn="just"/>
            <a:r>
              <a:rPr lang="en-GB" sz="2000" dirty="0"/>
              <a:t>Im Mittelpunkt dieses Moduls stehen innovative und technologische Ansätze zur Lösung von unternehmerischen Herausforderungen unter Berücksichtigung der Nachhaltigkeit. </a:t>
            </a:r>
          </a:p>
          <a:p>
            <a:pPr algn="just"/>
            <a:endParaRPr lang="en-GB" sz="2000" dirty="0"/>
          </a:p>
          <a:p>
            <a:pPr algn="just"/>
            <a:r>
              <a:rPr lang="en-GB" sz="2000" dirty="0"/>
              <a:t>Es umfasst agile Methoden, Design Thinking, Technologieintegration, Big Data, Clean-Tech-Lösungen und sparsame Innovationen. </a:t>
            </a:r>
          </a:p>
          <a:p>
            <a:pPr algn="just"/>
            <a:endParaRPr lang="en-GB" sz="2000" dirty="0"/>
          </a:p>
          <a:p>
            <a:pPr algn="just"/>
            <a:r>
              <a:rPr lang="en-GB" sz="2000" dirty="0"/>
              <a:t>Durch die Auseinandersetzung mit diesen Themen lernen die Lernenden, wie sie belastbare und zukunftsorientierte Geschäftsmodelle schaffen können, die zu einer nachhaltigen Zukunft beitragen.</a:t>
            </a:r>
            <a:endParaRPr lang="en-US" sz="2000" dirty="0"/>
          </a:p>
        </p:txBody>
      </p:sp>
    </p:spTree>
    <p:extLst>
      <p:ext uri="{BB962C8B-B14F-4D97-AF65-F5344CB8AC3E}">
        <p14:creationId xmlns:p14="http://schemas.microsoft.com/office/powerpoint/2010/main" val="29246828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383842"/>
            <a:ext cx="6038675" cy="1279970"/>
          </a:xfrm>
        </p:spPr>
        <p:txBody>
          <a:bodyPr/>
          <a:lstStyle/>
          <a:p>
            <a:r>
              <a:rPr lang="en-GB" sz="2800" dirty="0"/>
              <a:t>AUSBILDUNG UND UNTERSTÜTZUNG</a:t>
            </a:r>
            <a:endParaRPr lang="en-US" sz="28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5" y="1143000"/>
            <a:ext cx="5138225" cy="4885045"/>
          </a:xfrm>
        </p:spPr>
        <p:txBody>
          <a:bodyPr/>
          <a:lstStyle/>
          <a:p>
            <a:pPr algn="just"/>
            <a:r>
              <a:rPr lang="en-GB" sz="1800" dirty="0"/>
              <a:t>Wirksame Schulungen und kontinuierliche Unterstützung sind unerlässlich, um sicherzustellen, dass die Mitarbeiter die neuen Technologien effektiv nutzen und ihre Vorteile maximieren können. </a:t>
            </a:r>
          </a:p>
          <a:p>
            <a:pPr algn="just"/>
            <a:endParaRPr lang="en-GB" sz="1800" dirty="0"/>
          </a:p>
          <a:p>
            <a:pPr algn="just"/>
            <a:r>
              <a:rPr lang="en-GB" sz="1800" dirty="0"/>
              <a:t>Die Schulungsprogramme sollten auf die spezifischen Bedürfnisse und Aufgaben der Mitarbeiter zugeschnitten sein und sowohl die technischen Fähigkeiten zur Nutzung der Technologie als auch die Soft Skills zur Anpassung an neue Arbeitsabläufe abdecken. </a:t>
            </a:r>
          </a:p>
          <a:p>
            <a:pPr algn="just"/>
            <a:endParaRPr lang="en-GB" sz="16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0</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4" name="Flowchart: Delay 3">
            <a:extLst>
              <a:ext uri="{FF2B5EF4-FFF2-40B4-BE49-F238E27FC236}">
                <a16:creationId xmlns:a16="http://schemas.microsoft.com/office/drawing/2014/main" id="{22BDAEB5-9305-B594-C535-4E366C0C2564}"/>
              </a:ext>
            </a:extLst>
          </p:cNvPr>
          <p:cNvSpPr/>
          <p:nvPr/>
        </p:nvSpPr>
        <p:spPr>
          <a:xfrm>
            <a:off x="5875886" y="4802140"/>
            <a:ext cx="5740056" cy="1442831"/>
          </a:xfrm>
          <a:prstGeom prst="flowChartDelay">
            <a:avLst/>
          </a:prstGeom>
          <a:solidFill>
            <a:srgbClr val="60BA4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r>
              <a:rPr lang="en-GB" sz="1600" b="1" dirty="0">
                <a:latin typeface="Calibri" panose="020F0502020204030204" pitchFamily="34" charset="0"/>
                <a:ea typeface="Calibri" panose="020F0502020204030204" pitchFamily="34" charset="0"/>
                <a:cs typeface="Calibri" panose="020F0502020204030204" pitchFamily="34" charset="0"/>
              </a:rPr>
              <a:t>Z.B.: Unterstützungsmechanismen wie Helpdesks, Benutzerhandbücher und Online-Ressourcen sollten ebenfalls zur Verfügung gestellt werden, um Benutzeranfragen und Probleme umgehend zu lösen.</a:t>
            </a:r>
          </a:p>
        </p:txBody>
      </p:sp>
      <p:pic>
        <p:nvPicPr>
          <p:cNvPr id="2" name="Picture Placeholder 4" descr="Classroom of students raising their hands in front of a teacher">
            <a:extLst>
              <a:ext uri="{FF2B5EF4-FFF2-40B4-BE49-F238E27FC236}">
                <a16:creationId xmlns:a16="http://schemas.microsoft.com/office/drawing/2014/main" id="{FDA05509-876C-5761-65A2-EBE0C5AE90C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822" r="20822"/>
          <a:stretch/>
        </p:blipFill>
        <p:spPr>
          <a:xfrm>
            <a:off x="0" y="0"/>
            <a:ext cx="5875338" cy="6858000"/>
          </a:xfrm>
        </p:spPr>
      </p:pic>
    </p:spTree>
    <p:extLst>
      <p:ext uri="{BB962C8B-B14F-4D97-AF65-F5344CB8AC3E}">
        <p14:creationId xmlns:p14="http://schemas.microsoft.com/office/powerpoint/2010/main" val="2081212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331742"/>
            <a:ext cx="5417898" cy="1279970"/>
          </a:xfrm>
        </p:spPr>
        <p:txBody>
          <a:bodyPr/>
          <a:lstStyle/>
          <a:p>
            <a:r>
              <a:rPr lang="en-GB" b="1" dirty="0"/>
              <a:t>BEWERTUNG &amp; FEEDBACK</a:t>
            </a:r>
            <a:endParaRPr lang="en-US"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198044" y="1116412"/>
            <a:ext cx="5417898" cy="4261028"/>
          </a:xfrm>
        </p:spPr>
        <p:txBody>
          <a:bodyPr/>
          <a:lstStyle/>
          <a:p>
            <a:pPr algn="just"/>
            <a:r>
              <a:rPr lang="en-GB" sz="1600" dirty="0"/>
              <a:t>Kontinuierliche Bewertungs- und Feedback-Mechanismen sind entscheidend für die Überwachung der Leistung und der Auswirkungen der integrierten Technologie. </a:t>
            </a:r>
          </a:p>
          <a:p>
            <a:pPr algn="just"/>
            <a:endParaRPr lang="en-GB" sz="1600" dirty="0"/>
          </a:p>
          <a:p>
            <a:pPr algn="just"/>
            <a:r>
              <a:rPr lang="en-GB" sz="1600" dirty="0"/>
              <a:t>Dazu gehört die Erfassung von Daten zu den wichtigsten Leistungsindikatoren (KPIs) in Bezug auf Effizienz, Produktivität, Kundenzufriedenheit und andere relevante Messgrößen. </a:t>
            </a:r>
          </a:p>
          <a:p>
            <a:pPr algn="just"/>
            <a:endParaRPr lang="en-GB" sz="1600" dirty="0"/>
          </a:p>
          <a:p>
            <a:pPr algn="just"/>
            <a:r>
              <a:rPr lang="en-GB" sz="1600" dirty="0"/>
              <a:t>Regelmäßige Rückmeldungen von Nutzern und Interessenvertretern sollten eingeholt werden, um verbesserungswürdige Bereiche zu ermitteln und notwendige Anpassungen an der Technologie oder dem Implementierungsplan vorzunehmen. </a:t>
            </a:r>
          </a:p>
          <a:p>
            <a:pPr algn="just"/>
            <a:endParaRPr lang="en-GB" sz="16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1</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Flowchart: Delay 1">
            <a:extLst>
              <a:ext uri="{FF2B5EF4-FFF2-40B4-BE49-F238E27FC236}">
                <a16:creationId xmlns:a16="http://schemas.microsoft.com/office/drawing/2014/main" id="{0D5B4FB8-735B-D503-A436-F54B99E505C3}"/>
              </a:ext>
            </a:extLst>
          </p:cNvPr>
          <p:cNvSpPr/>
          <p:nvPr/>
        </p:nvSpPr>
        <p:spPr>
          <a:xfrm>
            <a:off x="5875886" y="4997350"/>
            <a:ext cx="5740056" cy="1528908"/>
          </a:xfrm>
          <a:prstGeom prst="flowChartDelay">
            <a:avLst/>
          </a:prstGeom>
          <a:solidFill>
            <a:srgbClr val="2094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2000" algn="just"/>
            <a:r>
              <a:rPr lang="en-GB" sz="1600" b="1" dirty="0">
                <a:latin typeface="Calibri" panose="020F0502020204030204" pitchFamily="34" charset="0"/>
                <a:ea typeface="Calibri" panose="020F0502020204030204" pitchFamily="34" charset="0"/>
                <a:cs typeface="Calibri" panose="020F0502020204030204" pitchFamily="34" charset="0"/>
              </a:rPr>
              <a:t>BEISPIEL: Ein Gesundheitsdienstleister, der ein neues elektronisches Patientendatensystem einführt, möchte das Feedback der Nutzer und die Systemleistung kontinuierlich auswerten, um die Patientenversorgung zu optimieren.</a:t>
            </a:r>
          </a:p>
        </p:txBody>
      </p:sp>
      <p:pic>
        <p:nvPicPr>
          <p:cNvPr id="3" name="Picture Placeholder 4">
            <a:extLst>
              <a:ext uri="{FF2B5EF4-FFF2-40B4-BE49-F238E27FC236}">
                <a16:creationId xmlns:a16="http://schemas.microsoft.com/office/drawing/2014/main" id="{CFA604E0-BEAC-B49C-913F-F44699A7358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t="9" b="9"/>
          <a:stretch/>
        </p:blipFill>
        <p:spPr>
          <a:xfrm>
            <a:off x="0" y="0"/>
            <a:ext cx="5875338" cy="6858000"/>
          </a:xfrm>
        </p:spPr>
      </p:pic>
    </p:spTree>
    <p:extLst>
      <p:ext uri="{BB962C8B-B14F-4D97-AF65-F5344CB8AC3E}">
        <p14:creationId xmlns:p14="http://schemas.microsoft.com/office/powerpoint/2010/main" val="2662632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24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a:t>
            </a:r>
            <a:r>
              <a:rPr lang="en-GB" sz="2400" b="1" dirty="0"/>
              <a:t>: </a:t>
            </a:r>
            <a:r>
              <a:rPr lang="en-GB" sz="2400" dirty="0"/>
              <a:t>Agile Methoden fördern Innovation und nachhaltige industrielle Entwicklung, verbessern die Infrastruktur und schaffen eine integrative Industrialisierung.</a:t>
            </a:r>
          </a:p>
          <a:p>
            <a:pPr algn="just"/>
            <a:endParaRPr lang="en-GB" sz="2400" dirty="0"/>
          </a:p>
          <a:p>
            <a:pPr algn="just"/>
            <a:r>
              <a:rPr lang="en-GB" sz="2400"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a:t>
            </a:r>
            <a:r>
              <a:rPr lang="en-GB" sz="2400" b="1" dirty="0"/>
              <a:t>: </a:t>
            </a:r>
            <a:r>
              <a:rPr lang="en-GB" sz="2400" dirty="0"/>
              <a:t>Design Thinking fördert eine widerstandsfähige, inklusive und nachhaltige Stadtentwicklung durch adaptive Planung und kollaborative Praktiken.</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EntreComp Rahmenwerk: 1.2 Kreativität</a:t>
            </a:r>
            <a:r>
              <a:rPr lang="en-GB" b="1" dirty="0"/>
              <a:t>: </a:t>
            </a:r>
            <a:r>
              <a:rPr lang="en-GB" dirty="0"/>
              <a:t>Agile Methoden stimulieren Kreativität und innovatives Denken, die für eine nachhaltige Entwicklung unerlässlich sind.</a:t>
            </a:r>
          </a:p>
          <a:p>
            <a:pPr algn="just"/>
            <a:endParaRPr lang="en-GB" sz="2000" dirty="0"/>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32622369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5D3E6-8DC8-DFC2-A566-7CF3CBA7FC7E}"/>
              </a:ext>
            </a:extLst>
          </p:cNvPr>
          <p:cNvGraphicFramePr>
            <a:graphicFrameLocks noChangeAspect="1"/>
          </p:cNvGraphicFramePr>
          <p:nvPr>
            <p:custDataLst>
              <p:tags r:id="rId1"/>
            </p:custDataLst>
            <p:extLst>
              <p:ext uri="{D42A27DB-BD31-4B8C-83A1-F6EECF244321}">
                <p14:modId xmlns:p14="http://schemas.microsoft.com/office/powerpoint/2010/main" val="1246054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Two cute robots">
            <a:extLst>
              <a:ext uri="{FF2B5EF4-FFF2-40B4-BE49-F238E27FC236}">
                <a16:creationId xmlns:a16="http://schemas.microsoft.com/office/drawing/2014/main" id="{24CE8C32-106D-C6E2-62A7-EBAAB837B365}"/>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36217" r="28336"/>
          <a:stretch/>
        </p:blipFill>
        <p:spPr>
          <a:xfrm>
            <a:off x="884238" y="0"/>
            <a:ext cx="4321607" cy="6858000"/>
          </a:xfrm>
        </p:spPr>
      </p:pic>
      <p:sp>
        <p:nvSpPr>
          <p:cNvPr id="3" name="Text Placeholder 2">
            <a:extLst>
              <a:ext uri="{FF2B5EF4-FFF2-40B4-BE49-F238E27FC236}">
                <a16:creationId xmlns:a16="http://schemas.microsoft.com/office/drawing/2014/main" id="{9067A9E3-45DE-AE6F-0A9D-46BD6115DFBD}"/>
              </a:ext>
            </a:extLst>
          </p:cNvPr>
          <p:cNvSpPr>
            <a:spLocks noGrp="1"/>
          </p:cNvSpPr>
          <p:nvPr>
            <p:ph type="body" sz="quarter" idx="30"/>
          </p:nvPr>
        </p:nvSpPr>
        <p:spPr>
          <a:xfrm>
            <a:off x="4378416" y="230541"/>
            <a:ext cx="6776598" cy="842867"/>
          </a:xfrm>
        </p:spPr>
        <p:txBody>
          <a:bodyPr/>
          <a:lstStyle/>
          <a:p>
            <a:r>
              <a:rPr lang="en-IE" dirty="0"/>
              <a:t>PRAKTISCHE ÜBUNG </a:t>
            </a:r>
          </a:p>
        </p:txBody>
      </p:sp>
      <p:sp>
        <p:nvSpPr>
          <p:cNvPr id="4" name="Text Placeholder 3">
            <a:extLst>
              <a:ext uri="{FF2B5EF4-FFF2-40B4-BE49-F238E27FC236}">
                <a16:creationId xmlns:a16="http://schemas.microsoft.com/office/drawing/2014/main" id="{1D176735-974C-0C4E-9553-28F7A7BC99D7}"/>
              </a:ext>
            </a:extLst>
          </p:cNvPr>
          <p:cNvSpPr>
            <a:spLocks noGrp="1"/>
          </p:cNvSpPr>
          <p:nvPr>
            <p:ph type="body" sz="quarter" idx="48"/>
          </p:nvPr>
        </p:nvSpPr>
        <p:spPr>
          <a:xfrm>
            <a:off x="5343786" y="1282437"/>
            <a:ext cx="6229089" cy="5135147"/>
          </a:xfrm>
          <a:solidFill>
            <a:schemeClr val="bg1"/>
          </a:solidFill>
        </p:spPr>
        <p:txBody>
          <a:bodyPr/>
          <a:lstStyle/>
          <a:p>
            <a:pPr algn="just"/>
            <a:r>
              <a:rPr lang="en-GB" sz="1800" b="1" dirty="0"/>
              <a:t>Workshop zur digitalen Transformation</a:t>
            </a:r>
          </a:p>
          <a:p>
            <a:pPr algn="just"/>
            <a:r>
              <a:rPr lang="en-GB" sz="1800" b="1" dirty="0"/>
              <a:t>Zielsetzung: </a:t>
            </a:r>
            <a:r>
              <a:rPr lang="en-GB" sz="1800" dirty="0"/>
              <a:t>Erkundung des Konzepts der digitalen Transformation und ihrer Auswirkungen auf die Geschäftsprozesse.</a:t>
            </a:r>
          </a:p>
          <a:p>
            <a:pPr algn="just"/>
            <a:endParaRPr lang="en-GB" sz="800" dirty="0"/>
          </a:p>
          <a:p>
            <a:pPr algn="just"/>
            <a:r>
              <a:rPr lang="en-GB" sz="1800" b="1" dirty="0"/>
              <a:t>Anweisungen: </a:t>
            </a:r>
            <a:r>
              <a:rPr lang="en-GB" sz="1800" dirty="0"/>
              <a:t>Teilen Sie die Teilnehmer in Gruppen ein. Weisen Sie jeder Gruppe ein Geschäftsszenario zu (z. B. Einzelhandel, Produktion). Geben Sie ihnen die Aufgabe, traditionelle Prozesse zu identifizieren, die von der Digitalisierung profitieren könnten.</a:t>
            </a:r>
          </a:p>
          <a:p>
            <a:pPr marL="285750" indent="-285750" algn="just">
              <a:buFont typeface="Arial" panose="020B0604020202020204" pitchFamily="34" charset="0"/>
              <a:buChar char="•"/>
            </a:pPr>
            <a:endParaRPr lang="en-GB" sz="800" dirty="0"/>
          </a:p>
          <a:p>
            <a:pPr algn="just"/>
            <a:r>
              <a:rPr lang="en-GB" sz="1800" b="1" dirty="0"/>
              <a:t>Aktivität: </a:t>
            </a:r>
            <a:r>
              <a:rPr lang="en-GB" sz="1800" dirty="0"/>
              <a:t>Die Lernenden machen ein Brainstorming und skizzieren die aktuellen Prozesse. Anschließend schlagen sie digitale Lösungen (z. B. Automatisierung, Cloud Computing) vor, um Abläufe zu rationalisieren und die Effizienz zu steigern.</a:t>
            </a:r>
          </a:p>
          <a:p>
            <a:pPr algn="just"/>
            <a:endParaRPr lang="en-GB" sz="800" dirty="0"/>
          </a:p>
          <a:p>
            <a:pPr algn="just"/>
            <a:r>
              <a:rPr lang="en-GB" sz="1800" b="1" dirty="0"/>
              <a:t>Ergebnis: </a:t>
            </a:r>
            <a:r>
              <a:rPr lang="en-GB" sz="1800" dirty="0"/>
              <a:t>Entwicklung eines Fahrplans für die digitale Transformation, der Schritte, Zeitpläne und erwartete Ergebnisse für die Integration von Technologie in den Geschäftsbetrieb enthält.</a:t>
            </a:r>
            <a:endParaRPr lang="en-IE" sz="1800" dirty="0"/>
          </a:p>
        </p:txBody>
      </p:sp>
    </p:spTree>
    <p:extLst>
      <p:ext uri="{BB962C8B-B14F-4D97-AF65-F5344CB8AC3E}">
        <p14:creationId xmlns:p14="http://schemas.microsoft.com/office/powerpoint/2010/main" val="11632797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CD864F-12FC-444B-495D-A5E327843E5F}"/>
              </a:ext>
            </a:extLst>
          </p:cNvPr>
          <p:cNvSpPr>
            <a:spLocks noGrp="1"/>
          </p:cNvSpPr>
          <p:nvPr>
            <p:ph type="body" sz="quarter" idx="30"/>
          </p:nvPr>
        </p:nvSpPr>
        <p:spPr>
          <a:xfrm>
            <a:off x="6415285" y="569896"/>
            <a:ext cx="4951851" cy="845139"/>
          </a:xfrm>
        </p:spPr>
        <p:txBody>
          <a:bodyPr/>
          <a:lstStyle/>
          <a:p>
            <a:r>
              <a:rPr lang="en-IE" dirty="0"/>
              <a:t>Weitere Ressourcen</a:t>
            </a:r>
          </a:p>
        </p:txBody>
      </p:sp>
      <p:sp>
        <p:nvSpPr>
          <p:cNvPr id="4" name="Text Placeholder 3">
            <a:extLst>
              <a:ext uri="{FF2B5EF4-FFF2-40B4-BE49-F238E27FC236}">
                <a16:creationId xmlns:a16="http://schemas.microsoft.com/office/drawing/2014/main" id="{03217DE6-3467-0A26-1950-9C5913DF9B0A}"/>
              </a:ext>
            </a:extLst>
          </p:cNvPr>
          <p:cNvSpPr>
            <a:spLocks noGrp="1"/>
          </p:cNvSpPr>
          <p:nvPr>
            <p:ph type="body" sz="quarter" idx="48"/>
          </p:nvPr>
        </p:nvSpPr>
        <p:spPr>
          <a:xfrm>
            <a:off x="6427466" y="1415035"/>
            <a:ext cx="4939670" cy="4613009"/>
          </a:xfrm>
        </p:spPr>
        <p:txBody>
          <a:bodyPr/>
          <a:lstStyle/>
          <a:p>
            <a:pPr algn="just"/>
            <a:r>
              <a:rPr lang="en-GB" sz="2200" dirty="0"/>
              <a:t>Um Ihr Verständnis des Ansatzes der Technologieintegration und seiner Anwendung in nachhaltigen Geschäftspraktiken zu vertiefen, sollten Sie sich die folgenden Ressourcen ansehen:</a:t>
            </a:r>
          </a:p>
          <a:p>
            <a:pPr algn="just"/>
            <a:endParaRPr lang="en-GB" sz="2200" dirty="0"/>
          </a:p>
          <a:p>
            <a:pPr algn="just"/>
            <a:r>
              <a:rPr lang="en-GB" sz="2200" b="1" dirty="0">
                <a:hlinkClick r:id="rId2"/>
              </a:rPr>
              <a:t>Erforschung grüner Technologien</a:t>
            </a:r>
            <a:r>
              <a:rPr lang="en-GB" sz="2200" b="1" dirty="0"/>
              <a:t>: </a:t>
            </a:r>
            <a:r>
              <a:rPr lang="en-GB" sz="2200" dirty="0"/>
              <a:t>Innovationen, Chancen und Herausforderungen der Praxis. </a:t>
            </a:r>
          </a:p>
          <a:p>
            <a:pPr algn="just"/>
            <a:endParaRPr lang="en-GB" sz="2200" dirty="0"/>
          </a:p>
          <a:p>
            <a:pPr algn="just"/>
            <a:r>
              <a:rPr lang="en-GB" sz="2200" b="1" dirty="0">
                <a:hlinkClick r:id="rId3"/>
              </a:rPr>
              <a:t>Technologie für Nachhaltigkeit</a:t>
            </a:r>
            <a:r>
              <a:rPr lang="en-GB" sz="2200" b="1" dirty="0"/>
              <a:t>: </a:t>
            </a:r>
            <a:r>
              <a:rPr lang="en-GB" sz="2200" dirty="0"/>
              <a:t>Wie man sie ethisch korrekt einsetzt</a:t>
            </a:r>
            <a:r>
              <a:rPr lang="en-GB" sz="2200" b="1" dirty="0"/>
              <a:t>. </a:t>
            </a:r>
            <a:endParaRPr lang="en-GB" dirty="0"/>
          </a:p>
          <a:p>
            <a:pPr algn="just"/>
            <a:endParaRPr lang="en-GB" b="1" dirty="0"/>
          </a:p>
        </p:txBody>
      </p:sp>
      <p:pic>
        <p:nvPicPr>
          <p:cNvPr id="2" name="Picture Placeholder 5">
            <a:extLst>
              <a:ext uri="{FF2B5EF4-FFF2-40B4-BE49-F238E27FC236}">
                <a16:creationId xmlns:a16="http://schemas.microsoft.com/office/drawing/2014/main" id="{2CA2D558-DBC6-B448-959D-C9C3172DCC49}"/>
              </a:ext>
            </a:extLst>
          </p:cNvPr>
          <p:cNvPicPr>
            <a:picLocks noGrp="1" noChangeAspect="1"/>
          </p:cNvPicPr>
          <p:nvPr>
            <p:ph type="pic" sz="quarter" idx="21"/>
          </p:nvPr>
        </p:nvPicPr>
        <p:blipFill>
          <a:blip r:embed="rId4"/>
          <a:srcRect l="11877" r="11877"/>
          <a:stretch>
            <a:fillRect/>
          </a:stretch>
        </p:blipFill>
        <p:spPr>
          <a:xfrm>
            <a:off x="0" y="0"/>
            <a:ext cx="5875338" cy="6858000"/>
          </a:xfrm>
        </p:spPr>
      </p:pic>
    </p:spTree>
    <p:extLst>
      <p:ext uri="{BB962C8B-B14F-4D97-AF65-F5344CB8AC3E}">
        <p14:creationId xmlns:p14="http://schemas.microsoft.com/office/powerpoint/2010/main" val="22383174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A15F8E-F3B4-A5F5-1ADA-BA2951ABB282}"/>
              </a:ext>
            </a:extLst>
          </p:cNvPr>
          <p:cNvGraphicFramePr>
            <a:graphicFrameLocks noChangeAspect="1"/>
          </p:cNvGraphicFramePr>
          <p:nvPr>
            <p:custDataLst>
              <p:tags r:id="rId1"/>
            </p:custDataLst>
            <p:extLst>
              <p:ext uri="{D42A27DB-BD31-4B8C-83A1-F6EECF244321}">
                <p14:modId xmlns:p14="http://schemas.microsoft.com/office/powerpoint/2010/main" val="351825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Businessperson on a computer">
            <a:extLst>
              <a:ext uri="{FF2B5EF4-FFF2-40B4-BE49-F238E27FC236}">
                <a16:creationId xmlns:a16="http://schemas.microsoft.com/office/drawing/2014/main" id="{C5B4977E-5DBD-B7E4-2BC1-1D9025005C62}"/>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l="1123" r="1123"/>
          <a:stretch/>
        </p:blipFill>
        <p:spPr>
          <a:xfrm>
            <a:off x="0" y="747713"/>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BIG DATA UND ANALYTIK</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0295759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6E758A-1212-D9C6-6565-0EFC9B5C73EF}"/>
              </a:ext>
            </a:extLst>
          </p:cNvPr>
          <p:cNvSpPr>
            <a:spLocks noGrp="1"/>
          </p:cNvSpPr>
          <p:nvPr>
            <p:ph type="body" sz="quarter" idx="30"/>
          </p:nvPr>
        </p:nvSpPr>
        <p:spPr>
          <a:xfrm>
            <a:off x="412318" y="800958"/>
            <a:ext cx="10483431" cy="804265"/>
          </a:xfrm>
        </p:spPr>
        <p:txBody>
          <a:bodyPr/>
          <a:lstStyle/>
          <a:p>
            <a:r>
              <a:rPr lang="en-GB" dirty="0"/>
              <a:t>SCHLÜSSELKONZEPTE VON BIG DATA UND ANALYTIK</a:t>
            </a:r>
            <a:endParaRPr lang="en-IE" dirty="0"/>
          </a:p>
        </p:txBody>
      </p:sp>
      <p:sp>
        <p:nvSpPr>
          <p:cNvPr id="3" name="Text Placeholder 2">
            <a:extLst>
              <a:ext uri="{FF2B5EF4-FFF2-40B4-BE49-F238E27FC236}">
                <a16:creationId xmlns:a16="http://schemas.microsoft.com/office/drawing/2014/main" id="{1C5D7E4C-163D-EB4A-D448-91A0B31F01B0}"/>
              </a:ext>
            </a:extLst>
          </p:cNvPr>
          <p:cNvSpPr>
            <a:spLocks noGrp="1"/>
          </p:cNvSpPr>
          <p:nvPr>
            <p:ph type="body" sz="quarter" idx="48"/>
          </p:nvPr>
        </p:nvSpPr>
        <p:spPr>
          <a:xfrm>
            <a:off x="406400" y="1553777"/>
            <a:ext cx="11032416" cy="4750354"/>
          </a:xfrm>
        </p:spPr>
        <p:txBody>
          <a:bodyPr/>
          <a:lstStyle/>
          <a:p>
            <a:r>
              <a:rPr lang="en-GB" sz="2200" dirty="0"/>
              <a:t>Big Data bezieht sich auf riesige und komplexe Datensätze, die die Verarbeitungsmöglichkeiten herkömmlicher Datenbanksysteme übersteigen. Um Big Data zu verstehen, muss man Schlüsselkonzepte wie Volumen, Geschwindigkeit, Vielfalt und Wahrhaftigkeit begreifen:</a:t>
            </a:r>
          </a:p>
          <a:p>
            <a:endParaRPr lang="en-GB" sz="1000" dirty="0"/>
          </a:p>
          <a:p>
            <a:pPr marL="342900" indent="-342900">
              <a:buFont typeface="Arial" panose="020B0604020202020204" pitchFamily="34" charset="0"/>
              <a:buChar char="•"/>
            </a:pPr>
            <a:r>
              <a:rPr lang="en-GB" sz="2200" b="1" dirty="0"/>
              <a:t>Volumen</a:t>
            </a:r>
            <a:r>
              <a:rPr lang="en-GB" sz="2200" dirty="0"/>
              <a:t>: Die schiere Menge der täglich generierten Daten aus Quellen wie sozialen Medien, Sensoren und Transaktionen.</a:t>
            </a:r>
            <a:br>
              <a:rPr lang="en-GB" sz="2200" dirty="0"/>
            </a:br>
            <a:endParaRPr lang="en-GB" sz="2200" dirty="0"/>
          </a:p>
          <a:p>
            <a:pPr marL="342900" indent="-342900">
              <a:buFont typeface="Arial" panose="020B0604020202020204" pitchFamily="34" charset="0"/>
              <a:buChar char="•"/>
            </a:pPr>
            <a:r>
              <a:rPr lang="en-GB" sz="2200" b="1" dirty="0"/>
              <a:t>Geschwindigkeit</a:t>
            </a:r>
            <a:r>
              <a:rPr lang="en-GB" sz="2200" dirty="0"/>
              <a:t>: Die Geschwindigkeit, mit der Daten generiert und verarbeitet werden, um Erkenntnisse in Echtzeit oder nahezu in Echtzeit zu erhalten.</a:t>
            </a:r>
          </a:p>
          <a:p>
            <a:pPr marL="171450" indent="-171450">
              <a:buFont typeface="Arial" panose="020B0604020202020204" pitchFamily="34" charset="0"/>
              <a:buChar char="•"/>
            </a:pPr>
            <a:endParaRPr lang="en-GB" sz="2200" b="1" dirty="0"/>
          </a:p>
          <a:p>
            <a:pPr marL="342900" indent="-342900">
              <a:buFont typeface="Arial" panose="020B0604020202020204" pitchFamily="34" charset="0"/>
              <a:buChar char="•"/>
            </a:pPr>
            <a:r>
              <a:rPr lang="en-GB" sz="2200" b="1" dirty="0"/>
              <a:t>Vielfältigkeit</a:t>
            </a:r>
            <a:r>
              <a:rPr lang="en-GB" sz="2200" dirty="0"/>
              <a:t>: Die verschiedenen Formen von Daten, einschließlich strukturierter, halbstrukturierter und unstrukturierter Daten.</a:t>
            </a:r>
          </a:p>
          <a:p>
            <a:pPr marL="171450" indent="-171450">
              <a:buFont typeface="Arial" panose="020B0604020202020204" pitchFamily="34" charset="0"/>
              <a:buChar char="•"/>
            </a:pPr>
            <a:endParaRPr lang="en-GB" sz="2200" b="1" dirty="0"/>
          </a:p>
          <a:p>
            <a:pPr marL="342900" indent="-342900">
              <a:buFont typeface="Arial" panose="020B0604020202020204" pitchFamily="34" charset="0"/>
              <a:buChar char="•"/>
            </a:pPr>
            <a:r>
              <a:rPr lang="en-GB" sz="2200" b="1" dirty="0"/>
              <a:t>Wahrhaftigkeit</a:t>
            </a:r>
            <a:r>
              <a:rPr lang="en-GB" sz="2200" dirty="0"/>
              <a:t>: Die Qualität und Zuverlässigkeit der Daten, um sicherzustellen, dass sie für die Analyse genau und vertrauenswürdig sind.</a:t>
            </a:r>
          </a:p>
          <a:p>
            <a:endParaRPr lang="en-GB" sz="2200" dirty="0"/>
          </a:p>
          <a:p>
            <a:endParaRPr lang="en-IE" sz="2200" dirty="0"/>
          </a:p>
        </p:txBody>
      </p:sp>
      <p:grpSp>
        <p:nvGrpSpPr>
          <p:cNvPr id="4" name="Graphic 3">
            <a:extLst>
              <a:ext uri="{FF2B5EF4-FFF2-40B4-BE49-F238E27FC236}">
                <a16:creationId xmlns:a16="http://schemas.microsoft.com/office/drawing/2014/main" id="{D9066C12-6EDB-333E-B931-E35F7418E04E}"/>
              </a:ext>
            </a:extLst>
          </p:cNvPr>
          <p:cNvGrpSpPr/>
          <p:nvPr/>
        </p:nvGrpSpPr>
        <p:grpSpPr>
          <a:xfrm>
            <a:off x="10514505" y="447758"/>
            <a:ext cx="1103277" cy="1106018"/>
            <a:chOff x="696736" y="5325926"/>
            <a:chExt cx="1103277" cy="1106018"/>
          </a:xfrm>
          <a:solidFill>
            <a:srgbClr val="0F486D"/>
          </a:solidFill>
        </p:grpSpPr>
        <p:sp>
          <p:nvSpPr>
            <p:cNvPr id="5" name="Freeform 1002">
              <a:extLst>
                <a:ext uri="{FF2B5EF4-FFF2-40B4-BE49-F238E27FC236}">
                  <a16:creationId xmlns:a16="http://schemas.microsoft.com/office/drawing/2014/main" id="{08B10123-C8BE-D913-8ED9-9C4AB2811EE2}"/>
                </a:ext>
              </a:extLst>
            </p:cNvPr>
            <p:cNvSpPr/>
            <p:nvPr/>
          </p:nvSpPr>
          <p:spPr>
            <a:xfrm>
              <a:off x="696736" y="5325926"/>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6" name="Freeform 1003">
              <a:extLst>
                <a:ext uri="{FF2B5EF4-FFF2-40B4-BE49-F238E27FC236}">
                  <a16:creationId xmlns:a16="http://schemas.microsoft.com/office/drawing/2014/main" id="{FDFC1607-8057-C314-2F66-7BDF303D01AF}"/>
                </a:ext>
              </a:extLst>
            </p:cNvPr>
            <p:cNvSpPr/>
            <p:nvPr/>
          </p:nvSpPr>
          <p:spPr>
            <a:xfrm>
              <a:off x="847588" y="5402723"/>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7" name="Freeform 1004">
              <a:extLst>
                <a:ext uri="{FF2B5EF4-FFF2-40B4-BE49-F238E27FC236}">
                  <a16:creationId xmlns:a16="http://schemas.microsoft.com/office/drawing/2014/main" id="{FA6DAD79-7AD1-954C-7B3F-D192BB2A7035}"/>
                </a:ext>
              </a:extLst>
            </p:cNvPr>
            <p:cNvSpPr/>
            <p:nvPr/>
          </p:nvSpPr>
          <p:spPr>
            <a:xfrm>
              <a:off x="921643" y="5402723"/>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8" name="Freeform 1005">
              <a:extLst>
                <a:ext uri="{FF2B5EF4-FFF2-40B4-BE49-F238E27FC236}">
                  <a16:creationId xmlns:a16="http://schemas.microsoft.com/office/drawing/2014/main" id="{31242E7D-33A7-DBAE-425F-BA9C2D3C8A6D}"/>
                </a:ext>
              </a:extLst>
            </p:cNvPr>
            <p:cNvSpPr/>
            <p:nvPr/>
          </p:nvSpPr>
          <p:spPr>
            <a:xfrm>
              <a:off x="896958" y="5624886"/>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99F27"/>
            </a:solidFill>
            <a:ln w="27426" cap="flat">
              <a:noFill/>
              <a:prstDash val="solid"/>
              <a:miter/>
            </a:ln>
          </p:spPr>
          <p:txBody>
            <a:bodyPr rtlCol="0" anchor="ctr"/>
            <a:lstStyle/>
            <a:p>
              <a:endParaRPr lang="en-US"/>
            </a:p>
          </p:txBody>
        </p:sp>
        <p:sp>
          <p:nvSpPr>
            <p:cNvPr id="9" name="Freeform 1006">
              <a:extLst>
                <a:ext uri="{FF2B5EF4-FFF2-40B4-BE49-F238E27FC236}">
                  <a16:creationId xmlns:a16="http://schemas.microsoft.com/office/drawing/2014/main" id="{7CB885D4-12AF-D973-1851-434CAD9FD018}"/>
                </a:ext>
              </a:extLst>
            </p:cNvPr>
            <p:cNvSpPr/>
            <p:nvPr/>
          </p:nvSpPr>
          <p:spPr>
            <a:xfrm>
              <a:off x="1198662" y="5863507"/>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99F27"/>
            </a:solidFill>
            <a:ln w="27426" cap="flat">
              <a:noFill/>
              <a:prstDash val="solid"/>
              <a:miter/>
            </a:ln>
          </p:spPr>
          <p:txBody>
            <a:bodyPr rtlCol="0" anchor="ctr"/>
            <a:lstStyle/>
            <a:p>
              <a:endParaRPr lang="en-US"/>
            </a:p>
          </p:txBody>
        </p:sp>
        <p:sp>
          <p:nvSpPr>
            <p:cNvPr id="10" name="Freeform 1007">
              <a:extLst>
                <a:ext uri="{FF2B5EF4-FFF2-40B4-BE49-F238E27FC236}">
                  <a16:creationId xmlns:a16="http://schemas.microsoft.com/office/drawing/2014/main" id="{5A19482E-1D93-A73D-9809-BC0336B02557}"/>
                </a:ext>
              </a:extLst>
            </p:cNvPr>
            <p:cNvSpPr/>
            <p:nvPr/>
          </p:nvSpPr>
          <p:spPr>
            <a:xfrm>
              <a:off x="811931" y="5476778"/>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11" name="Freeform 1008">
              <a:extLst>
                <a:ext uri="{FF2B5EF4-FFF2-40B4-BE49-F238E27FC236}">
                  <a16:creationId xmlns:a16="http://schemas.microsoft.com/office/drawing/2014/main" id="{DB34F9DD-8F1B-8352-3EF4-76F7C387D89D}"/>
                </a:ext>
              </a:extLst>
            </p:cNvPr>
            <p:cNvSpPr/>
            <p:nvPr/>
          </p:nvSpPr>
          <p:spPr>
            <a:xfrm>
              <a:off x="885987" y="5550832"/>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12" name="Freeform 1009">
              <a:extLst>
                <a:ext uri="{FF2B5EF4-FFF2-40B4-BE49-F238E27FC236}">
                  <a16:creationId xmlns:a16="http://schemas.microsoft.com/office/drawing/2014/main" id="{4AFBDEC0-5F2A-1524-78F1-A2181E35A9C8}"/>
                </a:ext>
              </a:extLst>
            </p:cNvPr>
            <p:cNvSpPr/>
            <p:nvPr/>
          </p:nvSpPr>
          <p:spPr>
            <a:xfrm>
              <a:off x="960041" y="5550832"/>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13" name="Freeform 1010">
              <a:extLst>
                <a:ext uri="{FF2B5EF4-FFF2-40B4-BE49-F238E27FC236}">
                  <a16:creationId xmlns:a16="http://schemas.microsoft.com/office/drawing/2014/main" id="{056EB7CE-9297-5A46-D91B-86F4FD3D7399}"/>
                </a:ext>
              </a:extLst>
            </p:cNvPr>
            <p:cNvSpPr/>
            <p:nvPr/>
          </p:nvSpPr>
          <p:spPr>
            <a:xfrm>
              <a:off x="1031353" y="5550832"/>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14" name="Freeform 1011">
              <a:extLst>
                <a:ext uri="{FF2B5EF4-FFF2-40B4-BE49-F238E27FC236}">
                  <a16:creationId xmlns:a16="http://schemas.microsoft.com/office/drawing/2014/main" id="{2CE346BD-F7C2-6F39-94CA-1D4D57347F47}"/>
                </a:ext>
              </a:extLst>
            </p:cNvPr>
            <p:cNvSpPr/>
            <p:nvPr/>
          </p:nvSpPr>
          <p:spPr>
            <a:xfrm>
              <a:off x="921643" y="5937562"/>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99F27"/>
            </a:solidFill>
            <a:ln w="27426" cap="flat">
              <a:noFill/>
              <a:prstDash val="solid"/>
              <a:miter/>
            </a:ln>
          </p:spPr>
          <p:txBody>
            <a:bodyPr rtlCol="0" anchor="ctr"/>
            <a:lstStyle/>
            <a:p>
              <a:endParaRPr lang="en-US"/>
            </a:p>
          </p:txBody>
        </p:sp>
        <p:sp>
          <p:nvSpPr>
            <p:cNvPr id="15" name="Freeform 1012">
              <a:extLst>
                <a:ext uri="{FF2B5EF4-FFF2-40B4-BE49-F238E27FC236}">
                  <a16:creationId xmlns:a16="http://schemas.microsoft.com/office/drawing/2014/main" id="{ABB2A77E-0181-F680-22DE-F658F329C53E}"/>
                </a:ext>
              </a:extLst>
            </p:cNvPr>
            <p:cNvSpPr/>
            <p:nvPr/>
          </p:nvSpPr>
          <p:spPr>
            <a:xfrm>
              <a:off x="995697" y="5827851"/>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99F27"/>
            </a:solidFill>
            <a:ln w="27426" cap="flat">
              <a:noFill/>
              <a:prstDash val="solid"/>
              <a:miter/>
            </a:ln>
          </p:spPr>
          <p:txBody>
            <a:bodyPr rtlCol="0" anchor="ctr"/>
            <a:lstStyle/>
            <a:p>
              <a:endParaRPr lang="en-US"/>
            </a:p>
          </p:txBody>
        </p:sp>
        <p:sp>
          <p:nvSpPr>
            <p:cNvPr id="16" name="Freeform 1013">
              <a:extLst>
                <a:ext uri="{FF2B5EF4-FFF2-40B4-BE49-F238E27FC236}">
                  <a16:creationId xmlns:a16="http://schemas.microsoft.com/office/drawing/2014/main" id="{BC77019F-ED02-296F-F76B-2AD9EB82971F}"/>
                </a:ext>
              </a:extLst>
            </p:cNvPr>
            <p:cNvSpPr/>
            <p:nvPr/>
          </p:nvSpPr>
          <p:spPr>
            <a:xfrm>
              <a:off x="1069752" y="5882706"/>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99F27"/>
            </a:solid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34549507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a:xfrm>
            <a:off x="3879838" y="465776"/>
            <a:ext cx="7160276" cy="730066"/>
          </a:xfrm>
        </p:spPr>
        <p:txBody>
          <a:bodyPr/>
          <a:lstStyle/>
          <a:p>
            <a:r>
              <a:rPr lang="en-GB" sz="3600" dirty="0"/>
              <a:t>Hadoop</a:t>
            </a:r>
            <a:endParaRPr lang="en-IE" dirty="0"/>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529514" cy="945874"/>
          </a:xfrm>
        </p:spPr>
        <p:txBody>
          <a:bodyPr/>
          <a:lstStyle/>
          <a:p>
            <a:pPr algn="just"/>
            <a:r>
              <a:rPr lang="en-GB" sz="1800" dirty="0"/>
              <a:t>Ein Open-Source-Framework, das die verteilte Verarbeitung großer Datensätze in Computerclustern mithilfe einfacher Programmiermodelle ermöglicht. Es ist so konzipiert, dass es von einem einzelnen Server bis zu Tausenden von Rechnern skaliert werden kann, die jeweils lokale Berechnungen und Speicherplatz anbiet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p:txBody>
          <a:bodyPr/>
          <a:lstStyle/>
          <a:p>
            <a:r>
              <a:rPr lang="en-GB" sz="3600" b="1" dirty="0"/>
              <a:t>Apache Spark</a:t>
            </a:r>
            <a:endParaRPr lang="en-IE" dirty="0"/>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04200" y="3063508"/>
            <a:ext cx="7529514" cy="945874"/>
          </a:xfrm>
        </p:spPr>
        <p:txBody>
          <a:bodyPr/>
          <a:lstStyle/>
          <a:p>
            <a:pPr algn="just"/>
            <a:r>
              <a:rPr lang="en-GB" sz="1800" dirty="0"/>
              <a:t>Ein weiteres Open-Source-System für verteiltes Rechnen, das große Datenmengen schneller und effizienter verarbeitet als MapReduce von Hadoop. Spark ist auf Geschwindigkeit und Benutzerfreundlichkeit ausgelegt und unterstützt anspruchsvolle Analysen durch seine integrierten Bibliotheke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p:txBody>
          <a:bodyPr/>
          <a:lstStyle/>
          <a:p>
            <a:r>
              <a:rPr lang="en-GB" sz="3600" b="1" dirty="0"/>
              <a:t>Cloud-basierte Analyseplattformen</a:t>
            </a:r>
            <a:endParaRPr lang="en-IE" dirty="0"/>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04200" y="5122028"/>
            <a:ext cx="7517333" cy="945874"/>
          </a:xfrm>
        </p:spPr>
        <p:txBody>
          <a:bodyPr/>
          <a:lstStyle/>
          <a:p>
            <a:pPr algn="just"/>
            <a:r>
              <a:rPr lang="en-GB" sz="1800" dirty="0"/>
              <a:t>Diese Plattformen bieten skalierbare und flexible Umgebungen zum Speichern, Verwalten und Analysieren von Big Data. Sie bieten Funktionen wie Data Warehousing, Data Lakes und Dienste für maschinelles Lernen und ermöglichen es Unternehmen, wertvolle Erkenntnisse zu gewinnen, ohne den Aufwand für die Verwaltung der Infrastruktur vor Ort.</a:t>
            </a:r>
            <a:endParaRPr lang="en-IE" sz="1800" dirty="0"/>
          </a:p>
        </p:txBody>
      </p:sp>
      <p:pic>
        <p:nvPicPr>
          <p:cNvPr id="8" name="Picture Placeholder 11" descr="Scientist viewing DNA test results on a computer screen in the laboratory">
            <a:extLst>
              <a:ext uri="{FF2B5EF4-FFF2-40B4-BE49-F238E27FC236}">
                <a16:creationId xmlns:a16="http://schemas.microsoft.com/office/drawing/2014/main" id="{FF5AAD92-1098-D5E5-CA5B-AC16FB34194D}"/>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7794" r="7794"/>
          <a:stretch>
            <a:fillRect/>
          </a:stretch>
        </p:blipFill>
        <p:spPr>
          <a:xfrm>
            <a:off x="1449388" y="409575"/>
            <a:ext cx="1839912" cy="1608138"/>
          </a:xfrm>
          <a:ln>
            <a:solidFill>
              <a:srgbClr val="0F486D"/>
            </a:solidFill>
          </a:ln>
        </p:spPr>
      </p:pic>
      <p:pic>
        <p:nvPicPr>
          <p:cNvPr id="10" name="Picture Placeholder 13" descr="Blurred financial stock market data and graph">
            <a:extLst>
              <a:ext uri="{FF2B5EF4-FFF2-40B4-BE49-F238E27FC236}">
                <a16:creationId xmlns:a16="http://schemas.microsoft.com/office/drawing/2014/main" id="{389E2072-B97E-AC1D-EFAA-C7F8A518A80E}"/>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173" r="11173"/>
          <a:stretch>
            <a:fillRect/>
          </a:stretch>
        </p:blipFill>
        <p:spPr>
          <a:xfrm>
            <a:off x="1449388" y="2506663"/>
            <a:ext cx="1839912" cy="1608137"/>
          </a:xfrm>
          <a:ln>
            <a:solidFill>
              <a:srgbClr val="0F486D"/>
            </a:solidFill>
          </a:ln>
        </p:spPr>
      </p:pic>
      <p:pic>
        <p:nvPicPr>
          <p:cNvPr id="12" name="Picture Placeholder 15" descr="Close-up of a pen writing on a chart">
            <a:extLst>
              <a:ext uri="{FF2B5EF4-FFF2-40B4-BE49-F238E27FC236}">
                <a16:creationId xmlns:a16="http://schemas.microsoft.com/office/drawing/2014/main" id="{9935FF4B-E55D-6A9E-E995-86B8BEBE6C6F}"/>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8185" r="8185"/>
          <a:stretch>
            <a:fillRect/>
          </a:stretch>
        </p:blipFill>
        <p:spPr>
          <a:xfrm>
            <a:off x="1449388" y="4603750"/>
            <a:ext cx="1839912" cy="1608138"/>
          </a:xfrm>
          <a:ln>
            <a:solidFill>
              <a:srgbClr val="0F486D"/>
            </a:solidFill>
          </a:ln>
        </p:spPr>
      </p:pic>
    </p:spTree>
    <p:extLst>
      <p:ext uri="{BB962C8B-B14F-4D97-AF65-F5344CB8AC3E}">
        <p14:creationId xmlns:p14="http://schemas.microsoft.com/office/powerpoint/2010/main" val="4387904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6E758A-1212-D9C6-6565-0EFC9B5C73EF}"/>
              </a:ext>
            </a:extLst>
          </p:cNvPr>
          <p:cNvSpPr>
            <a:spLocks noGrp="1"/>
          </p:cNvSpPr>
          <p:nvPr>
            <p:ph type="body" sz="quarter" idx="30"/>
          </p:nvPr>
        </p:nvSpPr>
        <p:spPr>
          <a:xfrm>
            <a:off x="854280" y="749511"/>
            <a:ext cx="10483431" cy="804265"/>
          </a:xfrm>
        </p:spPr>
        <p:txBody>
          <a:bodyPr/>
          <a:lstStyle/>
          <a:p>
            <a:r>
              <a:rPr lang="en-GB" dirty="0"/>
              <a:t>SCHLÜSSELKONZEPTE VON BIG DATA UND ANALYTIK</a:t>
            </a:r>
            <a:endParaRPr lang="en-IE" dirty="0"/>
          </a:p>
        </p:txBody>
      </p:sp>
      <p:sp>
        <p:nvSpPr>
          <p:cNvPr id="3" name="Text Placeholder 2">
            <a:extLst>
              <a:ext uri="{FF2B5EF4-FFF2-40B4-BE49-F238E27FC236}">
                <a16:creationId xmlns:a16="http://schemas.microsoft.com/office/drawing/2014/main" id="{1C5D7E4C-163D-EB4A-D448-91A0B31F01B0}"/>
              </a:ext>
            </a:extLst>
          </p:cNvPr>
          <p:cNvSpPr>
            <a:spLocks noGrp="1"/>
          </p:cNvSpPr>
          <p:nvPr>
            <p:ph type="body" sz="quarter" idx="48"/>
          </p:nvPr>
        </p:nvSpPr>
        <p:spPr>
          <a:xfrm>
            <a:off x="854282" y="1553777"/>
            <a:ext cx="10483429" cy="4750354"/>
          </a:xfrm>
        </p:spPr>
        <p:txBody>
          <a:bodyPr/>
          <a:lstStyle/>
          <a:p>
            <a:pPr algn="just"/>
            <a:r>
              <a:rPr lang="en-GB" sz="2200" dirty="0"/>
              <a:t>Big Data-Analysen ermöglichen es Unternehmen, fundierte Entscheidungen zu treffen und Nachhaltigkeitsinitiativen durch verwertbare Erkenntnisse voranzutreiben:</a:t>
            </a:r>
          </a:p>
          <a:p>
            <a:pPr algn="just"/>
            <a:endParaRPr lang="en-GB" sz="2200" dirty="0"/>
          </a:p>
          <a:p>
            <a:pPr algn="just"/>
            <a:r>
              <a:rPr lang="en-GB" sz="2200" b="1" dirty="0"/>
              <a:t>Strategische Entscheidungsfindung</a:t>
            </a:r>
            <a:r>
              <a:rPr lang="en-GB" sz="2200" dirty="0"/>
              <a:t>: Big-Data-Analytik ermöglicht es Unternehmen, Muster, Trends und Korrelationen in Daten aufzudecken, um strategische Entscheidungen zu treffen. Techniken wie prädiktive Analytik und maschinelle Lernmodelle helfen dabei, Markttrends zu antizipieren, Abläufe zu optimieren und Risiken zu verringern.</a:t>
            </a:r>
          </a:p>
          <a:p>
            <a:pPr algn="just">
              <a:buFont typeface="Arial" panose="020B0604020202020204" pitchFamily="34" charset="0"/>
              <a:buChar char="•"/>
            </a:pPr>
            <a:endParaRPr lang="en-GB" sz="2200" dirty="0"/>
          </a:p>
          <a:p>
            <a:pPr algn="just"/>
            <a:r>
              <a:rPr lang="en-GB" sz="2200" b="1" dirty="0"/>
              <a:t>Auswirkungen auf die Nachhaltigkeit</a:t>
            </a:r>
            <a:r>
              <a:rPr lang="en-GB" sz="2200" dirty="0"/>
              <a:t>: Die Nutzung von Big Data für die Nachhaltigkeit umfasst die Analyse von Daten zu Umweltauswirkungen, die Optimierung der Ressourcennutzung und die Ermittlung von Möglichkeiten zur Effizienzsteigerung. Durch die Integration von Umwelt-, Sozial- und Governance-Faktoren (ESG) in Entscheidungsprozesse können Unternehmen ihre Nachhaltigkeitspraktiken verbessern und zu globalen Zielen beitragen.</a:t>
            </a:r>
          </a:p>
        </p:txBody>
      </p:sp>
    </p:spTree>
    <p:extLst>
      <p:ext uri="{BB962C8B-B14F-4D97-AF65-F5344CB8AC3E}">
        <p14:creationId xmlns:p14="http://schemas.microsoft.com/office/powerpoint/2010/main" val="829394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A5DF18-7A0F-60DF-6891-7C577BF004DC}"/>
              </a:ext>
            </a:extLst>
          </p:cNvPr>
          <p:cNvGraphicFramePr>
            <a:graphicFrameLocks noChangeAspect="1"/>
          </p:cNvGraphicFramePr>
          <p:nvPr>
            <p:custDataLst>
              <p:tags r:id="rId1"/>
            </p:custDataLst>
            <p:extLst>
              <p:ext uri="{D42A27DB-BD31-4B8C-83A1-F6EECF244321}">
                <p14:modId xmlns:p14="http://schemas.microsoft.com/office/powerpoint/2010/main" val="4064494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9</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794933"/>
            <a:ext cx="5302318" cy="4419271"/>
          </a:xfrm>
        </p:spPr>
        <p:txBody>
          <a:bodyPr/>
          <a:lstStyle/>
          <a:p>
            <a:pPr algn="just"/>
            <a:r>
              <a:rPr lang="en-GB" sz="2000" b="1" dirty="0"/>
              <a:t>Intelligente Stromnetzsysteme: </a:t>
            </a:r>
            <a:r>
              <a:rPr lang="en-GB" sz="2000" dirty="0"/>
              <a:t>Ermöglichen die Überwachung, Optimierung und Steuerung von Stromnetzen in Echtzeit. Sie verbessern die Effizienz und Zuverlässigkeit der Energieverteilung. Intelligente Netze erleichtern die nahtlose Integration von erneuerbaren Energiequellen.</a:t>
            </a:r>
          </a:p>
          <a:p>
            <a:pPr algn="just"/>
            <a:endParaRPr lang="en-GB" sz="2000" dirty="0"/>
          </a:p>
          <a:p>
            <a:pPr algn="just"/>
            <a:r>
              <a:rPr lang="en-GB" sz="2000" b="1" dirty="0"/>
              <a:t>Energiemanagement: </a:t>
            </a:r>
            <a:r>
              <a:rPr lang="en-GB" sz="2000" dirty="0"/>
              <a:t>Umfasst intelligente Zähler und Sensoren zur Überwachung des Energieverbrauchs. Es implementiert Demand-Response-Strategien, um Angebot und Nachfrage effektiv auszugleichen. Das Energiemanagement verbessert auch Energiespeicherlösungen zur Speicherung überschüssiger erneuerbarer Energie.</a:t>
            </a:r>
          </a:p>
        </p:txBody>
      </p:sp>
      <p:pic>
        <p:nvPicPr>
          <p:cNvPr id="2" name="Picture Placeholder 8">
            <a:extLst>
              <a:ext uri="{FF2B5EF4-FFF2-40B4-BE49-F238E27FC236}">
                <a16:creationId xmlns:a16="http://schemas.microsoft.com/office/drawing/2014/main" id="{7E37BFEA-BAC6-499F-580E-2173D9E64EBB}"/>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668" r="2566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1220938"/>
          </a:xfrm>
        </p:spPr>
        <p:txBody>
          <a:bodyPr/>
          <a:lstStyle/>
          <a:p>
            <a:r>
              <a:rPr lang="en-GB" dirty="0"/>
              <a:t>INTELLIGENTE NETZSYSTEME UND ENERGIEMANAGEMENT</a:t>
            </a:r>
            <a:endParaRPr lang="en-US" dirty="0"/>
          </a:p>
        </p:txBody>
      </p:sp>
    </p:spTree>
    <p:extLst>
      <p:ext uri="{BB962C8B-B14F-4D97-AF65-F5344CB8AC3E}">
        <p14:creationId xmlns:p14="http://schemas.microsoft.com/office/powerpoint/2010/main" val="962394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23547"/>
            <a:ext cx="10483431" cy="804265"/>
          </a:xfrm>
        </p:spPr>
        <p:txBody>
          <a:bodyPr/>
          <a:lstStyle/>
          <a:p>
            <a:r>
              <a:rPr lang="en-GB" dirty="0"/>
              <a:t>BEDEUTUNG DER AGILEN METHODIK</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1327812"/>
            <a:ext cx="10483429" cy="4439577"/>
          </a:xfrm>
        </p:spPr>
        <p:txBody>
          <a:bodyPr/>
          <a:lstStyle/>
          <a:p>
            <a:pPr algn="just"/>
            <a:r>
              <a:rPr lang="en-GB" sz="2000" dirty="0"/>
              <a:t>Durch die Einführung agiler Praktiken können sich Unternehmen einen Wettbewerbsvorteil verschaffen:</a:t>
            </a:r>
          </a:p>
          <a:p>
            <a:pPr algn="just"/>
            <a:endParaRPr lang="en-GB" sz="2000" dirty="0"/>
          </a:p>
          <a:p>
            <a:pPr algn="just"/>
            <a:r>
              <a:rPr lang="en-GB" sz="2000" b="1" dirty="0">
                <a:highlight>
                  <a:srgbClr val="F36C2F"/>
                </a:highlight>
              </a:rPr>
              <a:t>Veränderungen zulassen</a:t>
            </a:r>
            <a:r>
              <a:rPr lang="en-GB" sz="2000" b="1" dirty="0"/>
              <a:t>: </a:t>
            </a:r>
            <a:r>
              <a:rPr lang="en-GB" sz="2000" dirty="0"/>
              <a:t>Agile Methoden legen den Schwerpunkt auf Flexibilität und Reaktionsfähigkeit und ermöglichen es Unternehmen, sich schnell an Marktveränderungen, technologische Fortschritte und Kundenwünsche anzupassen.</a:t>
            </a:r>
          </a:p>
          <a:p>
            <a:pPr algn="just"/>
            <a:endParaRPr lang="en-GB" sz="2000" dirty="0"/>
          </a:p>
          <a:p>
            <a:pPr algn="just"/>
            <a:r>
              <a:rPr lang="en-GB" sz="2000" b="1" dirty="0">
                <a:highlight>
                  <a:srgbClr val="F36C2F"/>
                </a:highlight>
              </a:rPr>
              <a:t>Inkrementelle Wertlieferung</a:t>
            </a:r>
            <a:r>
              <a:rPr lang="en-GB" sz="2000" b="1" dirty="0"/>
              <a:t>: </a:t>
            </a:r>
            <a:r>
              <a:rPr lang="en-GB" sz="2000" dirty="0"/>
              <a:t>Anstatt ein komplettes Produkt am Ende eines Projekts zu liefern, fördert Agile die iterative Entwicklung, bei der die Funktionalität in kleinen, inkrementellen Versionen geliefert wird. Dieser Ansatz stellt sicher, dass wertvolle Funktionen priorisiert und früh geliefert werden, wodurch die Kundenzufriedenheit und die Investitionsrendite maximiert werden.</a:t>
            </a:r>
          </a:p>
          <a:p>
            <a:pPr algn="just"/>
            <a:endParaRPr lang="en-GB" sz="2000" dirty="0"/>
          </a:p>
          <a:p>
            <a:pPr algn="just"/>
            <a:r>
              <a:rPr lang="en-GB" sz="2000" b="1" dirty="0">
                <a:highlight>
                  <a:srgbClr val="F36C2F"/>
                </a:highlight>
              </a:rPr>
              <a:t>Kunden-Feedback</a:t>
            </a:r>
            <a:r>
              <a:rPr lang="en-GB" sz="2000" b="1" dirty="0"/>
              <a:t>: </a:t>
            </a:r>
            <a:r>
              <a:rPr lang="en-GB" sz="2000" dirty="0"/>
              <a:t>Agiles Vorgehen fördert die kontinuierliche Einbeziehung der Kunden während des gesamten Entwicklungsprozesses. Durch die Integration häufiger Feedbackschleifen können die Teams Annahmen validieren, Anforderungen verfeinern und sicherstellen, dass sie mit den Kundenerwartungen übereinstimmen, um letztendlich Produkte zu liefern, die den Marktanforderungen besser entsprechen.</a:t>
            </a:r>
            <a:endParaRPr lang="en-US" sz="2000" dirty="0"/>
          </a:p>
        </p:txBody>
      </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A5B05F-5952-7DD5-42F6-890EDDC6BE4A}"/>
              </a:ext>
            </a:extLst>
          </p:cNvPr>
          <p:cNvGraphicFramePr>
            <a:graphicFrameLocks noChangeAspect="1"/>
          </p:cNvGraphicFramePr>
          <p:nvPr>
            <p:custDataLst>
              <p:tags r:id="rId1"/>
            </p:custDataLst>
            <p:extLst>
              <p:ext uri="{D42A27DB-BD31-4B8C-83A1-F6EECF244321}">
                <p14:modId xmlns:p14="http://schemas.microsoft.com/office/powerpoint/2010/main" val="340373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0</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731302"/>
            <a:ext cx="5302318" cy="4271810"/>
          </a:xfrm>
        </p:spPr>
        <p:txBody>
          <a:bodyPr/>
          <a:lstStyle/>
          <a:p>
            <a:pPr algn="just"/>
            <a:r>
              <a:rPr lang="en-GB" sz="1800" b="1" dirty="0"/>
              <a:t>Optimierte Ressourcenzuweisung: </a:t>
            </a:r>
            <a:r>
              <a:rPr lang="en-GB" sz="1800" dirty="0"/>
              <a:t>Intelligente Netze verteilen den Strom effizient anhand von Echtzeitdaten. Sie tragen dazu bei, Energieverschwendung und Betriebskosten wirksam zu reduzieren.</a:t>
            </a:r>
          </a:p>
          <a:p>
            <a:pPr algn="just"/>
            <a:endParaRPr lang="en-GB" sz="1800" b="1" dirty="0"/>
          </a:p>
          <a:p>
            <a:pPr algn="just"/>
            <a:r>
              <a:rPr lang="en-GB" sz="1800" b="1" dirty="0"/>
              <a:t>Verbesserte Zuverlässigkeit: </a:t>
            </a:r>
            <a:r>
              <a:rPr lang="en-GB" sz="1800" dirty="0"/>
              <a:t>Intelligente Netze verringern Stromausfälle und -unterbrechungen durch automatische Kontrollen. Sie stärken die Widerstandsfähigkeit des Netzes gegenüber Naturkatastrophen und Cyberangriffen. </a:t>
            </a:r>
          </a:p>
          <a:p>
            <a:pPr algn="just"/>
            <a:endParaRPr lang="en-GB" sz="1800" dirty="0"/>
          </a:p>
          <a:p>
            <a:pPr algn="just"/>
            <a:r>
              <a:rPr lang="en-GB" sz="1800" b="1" dirty="0"/>
              <a:t>Nahtlose Integration: </a:t>
            </a:r>
            <a:r>
              <a:rPr lang="en-GB" sz="1800" dirty="0"/>
              <a:t>Intelligente Netze integrieren verschiedene erneuerbare Energiequellen nahtlos in das Netz. Sie ermöglichen eine dezentrale Energieerzeugung und einen dezentralen Energieverbrauch (Prosumenten).</a:t>
            </a:r>
          </a:p>
        </p:txBody>
      </p:sp>
      <p:pic>
        <p:nvPicPr>
          <p:cNvPr id="2" name="Picture Placeholder 8">
            <a:extLst>
              <a:ext uri="{FF2B5EF4-FFF2-40B4-BE49-F238E27FC236}">
                <a16:creationId xmlns:a16="http://schemas.microsoft.com/office/drawing/2014/main" id="{ABAC99D4-A6B6-CB6C-76F4-F39B03366782}"/>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rcRect l="23722" r="23722"/>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1220938"/>
          </a:xfrm>
        </p:spPr>
        <p:txBody>
          <a:bodyPr/>
          <a:lstStyle/>
          <a:p>
            <a:r>
              <a:rPr lang="en-GB" dirty="0"/>
              <a:t>VORTEILE VON INTELLIGENTEN NETZSYSTEMEN</a:t>
            </a:r>
            <a:endParaRPr lang="en-US" dirty="0"/>
          </a:p>
        </p:txBody>
      </p:sp>
    </p:spTree>
    <p:extLst>
      <p:ext uri="{BB962C8B-B14F-4D97-AF65-F5344CB8AC3E}">
        <p14:creationId xmlns:p14="http://schemas.microsoft.com/office/powerpoint/2010/main" val="33431297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18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 </a:t>
            </a:r>
            <a:r>
              <a:rPr lang="en-GB" sz="1800" dirty="0"/>
              <a:t>Big Data und Analytik spielen eine zentrale Rolle bei der Förderung von Innovationen und der Verbesserung der Infrastruktur in allen Branchen. Durch die Nutzung datengestützter Erkenntnisse können Unternehmen ihre Abläufe optimieren, ihre Effizienz verbessern und ein nachhaltiges Wirtschaftswachstum fördern.</a:t>
            </a:r>
          </a:p>
          <a:p>
            <a:pPr algn="just"/>
            <a:endParaRPr lang="en-GB" sz="1800" dirty="0"/>
          </a:p>
          <a:p>
            <a:pPr algn="just"/>
            <a:r>
              <a:rPr lang="en-GB" sz="1800" b="1" dirty="0">
                <a:solidFill>
                  <a:srgbClr val="0F486D"/>
                </a:solidFill>
                <a:hlinkClick r:id="rId3">
                  <a:extLst>
                    <a:ext uri="{A12FA001-AC4F-418D-AE19-62706E023703}">
                      <ahyp:hlinkClr xmlns:ahyp="http://schemas.microsoft.com/office/drawing/2018/hyperlinkcolor" val="tx"/>
                    </a:ext>
                  </a:extLst>
                </a:hlinkClick>
              </a:rPr>
              <a:t>SDG 11: Nachhaltige Städte und Gemeinden </a:t>
            </a:r>
            <a:r>
              <a:rPr lang="en-GB" sz="1800" dirty="0"/>
              <a:t>Durch intelligente Datenanalyse können Städte eine nachhaltige Stadtentwicklung erreichen, indem sie das Ressourcenmanagement verbessern, die Umweltbelastung verringern und die Lebensqualität insgesamt verbessern. Big Data trägt zur adaptiven Planung und effizienten Ressourcenzuweisung bei.</a:t>
            </a:r>
          </a:p>
          <a:p>
            <a:pPr algn="just"/>
            <a:endParaRPr lang="en-GB" sz="1800" dirty="0"/>
          </a:p>
          <a:p>
            <a:pPr algn="just"/>
            <a:r>
              <a:rPr lang="en-GB" sz="1800" b="1" dirty="0"/>
              <a:t>EntreComp Rahmen: 1.2 Kreativität </a:t>
            </a:r>
            <a:r>
              <a:rPr lang="en-GB" sz="1800" dirty="0"/>
              <a:t>Big-Data-Analytik regt kreative Problemlösungen und innovatives Denken an, die für eine nachhaltige Entwicklung unerlässlich sind. Sie fördert die Fähigkeit, zielgerichtete Ideen zu entwickeln und in datengesteuerten Entscheidungsprozessen effektiv zusammenzuarbeiten.</a:t>
            </a:r>
          </a:p>
          <a:p>
            <a:pPr algn="just"/>
            <a:endParaRPr lang="en-GB" sz="1800" dirty="0"/>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5"/>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4774096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53CBE2-48CB-A32D-DE23-6861C00B8FB4}"/>
              </a:ext>
            </a:extLst>
          </p:cNvPr>
          <p:cNvGraphicFramePr>
            <a:graphicFrameLocks noChangeAspect="1"/>
          </p:cNvGraphicFramePr>
          <p:nvPr>
            <p:custDataLst>
              <p:tags r:id="rId1"/>
            </p:custDataLst>
            <p:extLst>
              <p:ext uri="{D42A27DB-BD31-4B8C-83A1-F6EECF244321}">
                <p14:modId xmlns:p14="http://schemas.microsoft.com/office/powerpoint/2010/main" val="2947010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879FA1F4-286F-2D2E-21AC-8531F1D7FFE7}"/>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5125" b="5125"/>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LÖSUNGEN FÜR UMWELT UND SAUBERE TECHNOLOGIEN</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6</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1832152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ED23-E2A8-2D47-42DC-1F0CFDE175EC}"/>
              </a:ext>
            </a:extLst>
          </p:cNvPr>
          <p:cNvGraphicFramePr>
            <a:graphicFrameLocks noChangeAspect="1"/>
          </p:cNvGraphicFramePr>
          <p:nvPr>
            <p:custDataLst>
              <p:tags r:id="rId1"/>
            </p:custDataLst>
            <p:extLst>
              <p:ext uri="{D42A27DB-BD31-4B8C-83A1-F6EECF244321}">
                <p14:modId xmlns:p14="http://schemas.microsoft.com/office/powerpoint/2010/main" val="4048495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17362" y="534656"/>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3</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33487" y="1605958"/>
            <a:ext cx="4939670" cy="4271810"/>
          </a:xfrm>
        </p:spPr>
        <p:txBody>
          <a:bodyPr/>
          <a:lstStyle/>
          <a:p>
            <a:pPr algn="just"/>
            <a:r>
              <a:rPr lang="en-GB" sz="1800" dirty="0"/>
              <a:t>Saubere Technologien, oft auch als Clean-Tech bezeichnet, stehen an vorderster Front auf dem Weg zu einer nachhaltigeren und umweltfreundlicheren Zukunft.</a:t>
            </a:r>
          </a:p>
          <a:p>
            <a:pPr algn="just"/>
            <a:endParaRPr lang="en-GB" sz="1800" dirty="0"/>
          </a:p>
          <a:p>
            <a:pPr algn="just"/>
            <a:r>
              <a:rPr lang="en-GB" sz="1800" dirty="0"/>
              <a:t>Diese Technologien umfassen innovative Produkte, Dienstleistungen und Verfahren, die darauf ausgelegt sind, erneuerbare Materialien und Energiequellen zu nutzen, Emissionen und Abfälle erheblich zu reduzieren und die Umwelt so wenig wie möglich zu belasten. </a:t>
            </a:r>
          </a:p>
          <a:p>
            <a:pPr algn="just"/>
            <a:endParaRPr lang="en-GB" sz="1800" dirty="0"/>
          </a:p>
          <a:p>
            <a:pPr algn="just"/>
            <a:r>
              <a:rPr lang="en-GB" sz="1800" b="1" dirty="0"/>
              <a:t>Die Integration sauberer Technologien in die Unternehmenspraxis ist nicht nur für die nachhaltige Entwicklung, sondern auch für die Abschwächung der gravierenden Auswirkungen des Klimawandels von entscheidender Bedeutung.</a:t>
            </a:r>
          </a:p>
        </p:txBody>
      </p:sp>
      <p:pic>
        <p:nvPicPr>
          <p:cNvPr id="2" name="Picture Placeholder 8">
            <a:extLst>
              <a:ext uri="{FF2B5EF4-FFF2-40B4-BE49-F238E27FC236}">
                <a16:creationId xmlns:a16="http://schemas.microsoft.com/office/drawing/2014/main" id="{A0E54634-FFF3-3689-521C-56A9801A8B05}"/>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t="4228" b="422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417180"/>
            <a:ext cx="4205579" cy="776323"/>
          </a:xfrm>
        </p:spPr>
        <p:txBody>
          <a:bodyPr/>
          <a:lstStyle/>
          <a:p>
            <a:r>
              <a:rPr lang="en-GB" dirty="0"/>
              <a:t>EINFÜHRUNG</a:t>
            </a:r>
            <a:endParaRPr lang="en-US" dirty="0"/>
          </a:p>
        </p:txBody>
      </p:sp>
    </p:spTree>
    <p:extLst>
      <p:ext uri="{BB962C8B-B14F-4D97-AF65-F5344CB8AC3E}">
        <p14:creationId xmlns:p14="http://schemas.microsoft.com/office/powerpoint/2010/main" val="39159263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1009322"/>
            <a:ext cx="10483431" cy="804265"/>
          </a:xfrm>
        </p:spPr>
        <p:txBody>
          <a:bodyPr/>
          <a:lstStyle/>
          <a:p>
            <a:r>
              <a:rPr lang="en-US" dirty="0"/>
              <a:t>SCHLÜSSELKONZEPTE FÜR SAUBERE TECHNOLOGI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2116223"/>
            <a:ext cx="10483429" cy="4439577"/>
          </a:xfrm>
        </p:spPr>
        <p:txBody>
          <a:bodyPr/>
          <a:lstStyle/>
          <a:p>
            <a:pPr algn="just"/>
            <a:r>
              <a:rPr lang="en-GB" dirty="0"/>
              <a:t>Saubere Technologien (Clean-Tech) sind ein breites und vielfältiges Spektrum von Technologien zur Verbesserung der ökologischen Nachhaltigkeit. Diese Technologien werden mit dem Ziel entwickelt, negative Umweltauswirkungen zu verringern oder zu beseitigen und die Effizienz der Ressourcennutzung zu verbessern. </a:t>
            </a:r>
          </a:p>
          <a:p>
            <a:pPr algn="just"/>
            <a:endParaRPr lang="en-GB" dirty="0"/>
          </a:p>
          <a:p>
            <a:pPr algn="just"/>
            <a:r>
              <a:rPr lang="en-GB" dirty="0"/>
              <a:t>Clean-Tech umfasst unter anderem erneuerbare Energiequellen, energieeffiziente Systeme, Lösungen für die Abfallwirtschaft und Mechanismen zur Bekämpfung der Umweltverschmutzung. Durch die Konzentration auf diese Technologien können Unternehmen ihren CO2-Fußabdruck erheblich verringern, natürliche Ressourcen schonen und zu einem gesünderen Planeten beitragen.</a:t>
            </a:r>
            <a:endParaRPr lang="en-GB" sz="3200" dirty="0"/>
          </a:p>
        </p:txBody>
      </p:sp>
    </p:spTree>
    <p:extLst>
      <p:ext uri="{BB962C8B-B14F-4D97-AF65-F5344CB8AC3E}">
        <p14:creationId xmlns:p14="http://schemas.microsoft.com/office/powerpoint/2010/main" val="8278563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ADC735-C0F9-9A5E-D55D-E041A85D1337}"/>
              </a:ext>
            </a:extLst>
          </p:cNvPr>
          <p:cNvGraphicFramePr>
            <a:graphicFrameLocks noChangeAspect="1"/>
          </p:cNvGraphicFramePr>
          <p:nvPr>
            <p:custDataLst>
              <p:tags r:id="rId1"/>
            </p:custDataLst>
            <p:extLst>
              <p:ext uri="{D42A27DB-BD31-4B8C-83A1-F6EECF244321}">
                <p14:modId xmlns:p14="http://schemas.microsoft.com/office/powerpoint/2010/main" val="337384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Solar panels at sunset">
            <a:extLst>
              <a:ext uri="{FF2B5EF4-FFF2-40B4-BE49-F238E27FC236}">
                <a16:creationId xmlns:a16="http://schemas.microsoft.com/office/drawing/2014/main" id="{8D28B342-7CAE-26E9-1907-75A69E1387B1}"/>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0" r="1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09462" y="130367"/>
            <a:ext cx="5604113" cy="1279970"/>
          </a:xfrm>
        </p:spPr>
        <p:txBody>
          <a:bodyPr/>
          <a:lstStyle/>
          <a:p>
            <a:r>
              <a:rPr lang="en-GB" b="1" dirty="0"/>
              <a:t>ERNEUERBARE ENERGIEQUELLEN</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87532" y="1343350"/>
            <a:ext cx="5526043" cy="5083780"/>
          </a:xfrm>
          <a:solidFill>
            <a:schemeClr val="bg1"/>
          </a:solidFill>
        </p:spPr>
        <p:txBody>
          <a:bodyPr/>
          <a:lstStyle/>
          <a:p>
            <a:pPr algn="just"/>
            <a:r>
              <a:rPr lang="en-GB" sz="1800" b="1" dirty="0"/>
              <a:t>Solarenergie:</a:t>
            </a:r>
            <a:r>
              <a:rPr lang="en-GB" sz="1800" dirty="0"/>
              <a:t> Nutzt photovoltaische Zellen, um Sonnenlicht in Strom umzuwandeln. Solarenergie ist eine der am leichtesten zugänglichen und am weitesten verbreiteten Formen erneuerbarer Energie und bietet eine saubere und nachhaltige Alternative zu fossilen Brennstoffen.</a:t>
            </a:r>
          </a:p>
          <a:p>
            <a:pPr algn="just"/>
            <a:endParaRPr lang="en-GB" sz="1800" dirty="0"/>
          </a:p>
          <a:p>
            <a:pPr algn="just"/>
            <a:r>
              <a:rPr lang="en-GB" sz="1800" b="1" dirty="0"/>
              <a:t>Windenergie: </a:t>
            </a:r>
            <a:r>
              <a:rPr lang="en-GB" sz="1800" dirty="0"/>
              <a:t>Nutzt die Kraft des Windes durch Turbinen zur Stromerzeugung. Die Windenergie ist ein schnell wachsender Sektor, der erheblich zur weltweiten Kapazität an erneuerbaren Energien beiträgt.</a:t>
            </a:r>
          </a:p>
          <a:p>
            <a:pPr algn="just"/>
            <a:endParaRPr lang="en-GB" sz="1800" dirty="0"/>
          </a:p>
          <a:p>
            <a:pPr algn="just"/>
            <a:r>
              <a:rPr lang="en-GB" sz="1800" b="1" dirty="0"/>
              <a:t>Energie aus Biomasse</a:t>
            </a:r>
            <a:r>
              <a:rPr lang="en-GB" sz="1800" dirty="0"/>
              <a:t>: Die Umwandlung von organischen Materialien wie landwirtschaftlichen Abfällen, Holz und sogar Algen in nutzbare Energie. Biomasse ist eine vielseitige Energiequelle, die Strom, Wärme oder Biokraftstoffe erzeugen kan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5</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8064564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1ACB35-724F-D27A-3515-655CE61ABE4A}"/>
              </a:ext>
            </a:extLst>
          </p:cNvPr>
          <p:cNvGraphicFramePr>
            <a:graphicFrameLocks noChangeAspect="1"/>
          </p:cNvGraphicFramePr>
          <p:nvPr>
            <p:custDataLst>
              <p:tags r:id="rId1"/>
            </p:custDataLst>
            <p:extLst>
              <p:ext uri="{D42A27DB-BD31-4B8C-83A1-F6EECF244321}">
                <p14:modId xmlns:p14="http://schemas.microsoft.com/office/powerpoint/2010/main" val="5633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Solar panels at sunset">
            <a:extLst>
              <a:ext uri="{FF2B5EF4-FFF2-40B4-BE49-F238E27FC236}">
                <a16:creationId xmlns:a16="http://schemas.microsoft.com/office/drawing/2014/main" id="{787F342A-E50F-5E6E-C5B7-DAD829BC6806}"/>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0" r="1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299859" y="271849"/>
            <a:ext cx="5604113" cy="1279970"/>
          </a:xfrm>
        </p:spPr>
        <p:txBody>
          <a:bodyPr/>
          <a:lstStyle/>
          <a:p>
            <a:r>
              <a:rPr lang="en-GB" b="1" dirty="0"/>
              <a:t>ERNEUERBARE ENERGIEQUELLEN</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551819"/>
            <a:ext cx="5178998" cy="5034332"/>
          </a:xfrm>
          <a:solidFill>
            <a:schemeClr val="bg1"/>
          </a:solidFill>
        </p:spPr>
        <p:txBody>
          <a:bodyPr/>
          <a:lstStyle/>
          <a:p>
            <a:pPr algn="just"/>
            <a:r>
              <a:rPr lang="en-GB" sz="2000" b="1" dirty="0"/>
              <a:t>Wasserkraft und Gezeitenenergie</a:t>
            </a:r>
            <a:r>
              <a:rPr lang="en-GB" sz="2000" dirty="0"/>
              <a:t>: Nutzt die kinetische Energie von bewegtem Wasser zur Stromerzeugung. Die Wasserkraft, für die oft Dämme gebaut werden, ist eine der ältesten und zuverlässigsten Formen erneuerbarer Energien. Die Gezeitenenergie ist zwar weniger verbreitet, nutzt aber das natürliche Auf und Ab der Gezeiten zur Stromerzeugung.</a:t>
            </a:r>
          </a:p>
          <a:p>
            <a:pPr algn="just"/>
            <a:endParaRPr lang="en-GB" sz="2000" dirty="0"/>
          </a:p>
          <a:p>
            <a:pPr algn="just"/>
            <a:r>
              <a:rPr lang="en-GB" sz="2000" b="1" dirty="0"/>
              <a:t>Geothermische Energie</a:t>
            </a:r>
            <a:r>
              <a:rPr lang="en-GB" sz="2000" dirty="0"/>
              <a:t>: Gewinnung von Wärme aus dem Erdinneren zur Stromerzeugung oder zur direkten Beheizung. Geothermische Energie ist eine beständige und zuverlässige Energiequelle, insbesondere in Regionen mit hoher geothermischer Aktivitä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6</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1804494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C925488-9F62-E6CA-B7F1-488DCDBBFCA9}"/>
              </a:ext>
            </a:extLst>
          </p:cNvPr>
          <p:cNvGraphicFramePr>
            <a:graphicFrameLocks noChangeAspect="1"/>
          </p:cNvGraphicFramePr>
          <p:nvPr>
            <p:custDataLst>
              <p:tags r:id="rId1"/>
            </p:custDataLst>
            <p:extLst>
              <p:ext uri="{D42A27DB-BD31-4B8C-83A1-F6EECF244321}">
                <p14:modId xmlns:p14="http://schemas.microsoft.com/office/powerpoint/2010/main" val="107120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One glowing fluorescent bulb amonst unlit incandescent bulbs">
            <a:extLst>
              <a:ext uri="{FF2B5EF4-FFF2-40B4-BE49-F238E27FC236}">
                <a16:creationId xmlns:a16="http://schemas.microsoft.com/office/drawing/2014/main" id="{BE41B802-7F98-5488-CF04-BE0975C539D9}"/>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3" r="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160145" y="288560"/>
            <a:ext cx="5743988" cy="1279970"/>
          </a:xfrm>
        </p:spPr>
        <p:txBody>
          <a:bodyPr/>
          <a:lstStyle/>
          <a:p>
            <a:r>
              <a:rPr lang="en-GB" b="1" dirty="0"/>
              <a:t>ENERGIEEFFIZIENTE SYSTEME</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5" y="1032934"/>
            <a:ext cx="5299827" cy="5087773"/>
          </a:xfrm>
          <a:solidFill>
            <a:schemeClr val="bg1"/>
          </a:solidFill>
        </p:spPr>
        <p:txBody>
          <a:bodyPr/>
          <a:lstStyle/>
          <a:p>
            <a:pPr algn="just"/>
            <a:r>
              <a:rPr lang="en-GB" sz="1800" b="1" dirty="0"/>
              <a:t>LED-Beleuchtung: </a:t>
            </a:r>
            <a:r>
              <a:rPr lang="en-GB" sz="1800" dirty="0"/>
              <a:t>LED-Leuchten verbrauchen deutlich weniger Energie als herkömmliche Glühbirnen und haben eine längere Lebensdauer, was sowohl den Energieverbrauch als auch den Abfall reduziert. </a:t>
            </a:r>
          </a:p>
          <a:p>
            <a:pPr algn="just"/>
            <a:endParaRPr lang="en-GB" sz="1800" dirty="0"/>
          </a:p>
          <a:p>
            <a:pPr algn="just"/>
            <a:r>
              <a:rPr lang="en-GB" sz="1800" dirty="0"/>
              <a:t>Außerdem sind sie in verschiedenen Farben und Lichtstärken erhältlich, so dass sie sich für die unterschiedlichsten Anwendungen eignen, von der Haushaltsbeleuchtung bis zur industriellen Nutzung.</a:t>
            </a:r>
          </a:p>
          <a:p>
            <a:pPr algn="just"/>
            <a:endParaRPr lang="en-GB" sz="1800" dirty="0"/>
          </a:p>
          <a:p>
            <a:pPr algn="just"/>
            <a:r>
              <a:rPr lang="en-GB" sz="1800" b="1" dirty="0"/>
              <a:t>Intelligente Thermostate: </a:t>
            </a:r>
            <a:r>
              <a:rPr lang="en-GB" sz="1800" dirty="0"/>
              <a:t>Diese Geräte optimieren Heiz- und Kühlsysteme, verbessern die Energieeffizienz und senken die Betriebskosten. </a:t>
            </a:r>
          </a:p>
          <a:p>
            <a:pPr algn="just"/>
            <a:endParaRPr lang="en-GB" sz="1800" dirty="0"/>
          </a:p>
          <a:p>
            <a:pPr algn="just"/>
            <a:r>
              <a:rPr lang="en-GB" sz="1800" dirty="0"/>
              <a:t>Intelligente Thermostate lernen die Vorlieben der Nutzer und passen die Temperatur automatisch an, was zu einer effizienteren Energienutzung und einem höheren Komfort in Wohnungen und Unternehmen führ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515491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00DC9A8-7C59-0B62-28E9-D606237BF375}"/>
              </a:ext>
            </a:extLst>
          </p:cNvPr>
          <p:cNvGraphicFramePr>
            <a:graphicFrameLocks noChangeAspect="1"/>
          </p:cNvGraphicFramePr>
          <p:nvPr>
            <p:custDataLst>
              <p:tags r:id="rId1"/>
            </p:custDataLst>
            <p:extLst>
              <p:ext uri="{D42A27DB-BD31-4B8C-83A1-F6EECF244321}">
                <p14:modId xmlns:p14="http://schemas.microsoft.com/office/powerpoint/2010/main" val="2524639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a:extLst>
              <a:ext uri="{FF2B5EF4-FFF2-40B4-BE49-F238E27FC236}">
                <a16:creationId xmlns:a16="http://schemas.microsoft.com/office/drawing/2014/main" id="{6F437C6D-A0E8-43E0-1EC9-AE91267BDE7E}"/>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49"/>
            <a:ext cx="5124174" cy="1541705"/>
          </a:xfrm>
        </p:spPr>
        <p:txBody>
          <a:bodyPr/>
          <a:lstStyle/>
          <a:p>
            <a:r>
              <a:rPr lang="en-GB" b="1" dirty="0"/>
              <a:t>TECHNOLOGIEN FÜR DIE ABFALLWIRTSCHAFT</a:t>
            </a:r>
            <a:endParaRPr lang="en-GB"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64969" y="1581150"/>
            <a:ext cx="5086671" cy="5005001"/>
          </a:xfrm>
        </p:spPr>
        <p:txBody>
          <a:bodyPr/>
          <a:lstStyle/>
          <a:p>
            <a:pPr algn="just"/>
            <a:r>
              <a:rPr lang="en-GB" sz="1800" b="1" dirty="0"/>
              <a:t>Recycling-Systeme:</a:t>
            </a:r>
            <a:r>
              <a:rPr lang="en-GB" sz="1800" dirty="0"/>
              <a:t> Fortschrittliche Recyclingtechnologien ermöglichen die effiziente Sortierung, Verarbeitung und Wiederverwendung von Abfallstoffen, wodurch die Nutzung von Deponien reduziert und Ressourcen geschont werden. Moderne Recyclinganlagen verwenden hochentwickelte Geräte wie optische Sortierer und Magnetabscheider, um verschiedene Arten von Wertstoffen zu verarbeiten.</a:t>
            </a:r>
          </a:p>
          <a:p>
            <a:pPr algn="just"/>
            <a:endParaRPr lang="en-GB" sz="1800" dirty="0"/>
          </a:p>
          <a:p>
            <a:pPr algn="just"/>
            <a:r>
              <a:rPr lang="en-GB" sz="1800" b="1" dirty="0"/>
              <a:t>Kompostierungssysteme:</a:t>
            </a:r>
            <a:r>
              <a:rPr lang="en-GB" sz="1800" dirty="0"/>
              <a:t> Verwandeln Sie organische Abfälle in wertvollen Kompost, um Deponieabfälle zu reduzieren und den Boden für die Landwirtschaft anzureichern. Kompostierungssysteme können von einfachen Hinterhofanlagen bis hin zu groß angelegten industriellen Betrieben reichen. </a:t>
            </a:r>
            <a:r>
              <a:rPr lang="en-GB" sz="1800" dirty="0">
                <a:hlinkClick r:id="rId6"/>
              </a:rPr>
              <a:t>My </a:t>
            </a:r>
            <a:r>
              <a:rPr lang="en-GB" sz="1800" dirty="0" err="1">
                <a:hlinkClick r:id="rId6"/>
              </a:rPr>
              <a:t>Gug </a:t>
            </a:r>
            <a:r>
              <a:rPr lang="en-GB" sz="1800" dirty="0">
                <a:hlinkClick r:id="rId6"/>
              </a:rPr>
              <a:t>ist ein perfektes Beispiel dafür, wie man es richtig macht!</a:t>
            </a:r>
            <a:endParaRPr lang="en-GB" sz="1800" dirty="0">
              <a:highlight>
                <a:srgbClr val="FFFF00"/>
              </a:highlight>
            </a:endParaRP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682530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30431"/>
            <a:ext cx="5124174" cy="1279970"/>
          </a:xfrm>
        </p:spPr>
        <p:txBody>
          <a:bodyPr/>
          <a:lstStyle/>
          <a:p>
            <a:r>
              <a:rPr lang="en-GB" sz="2800" b="1" dirty="0"/>
              <a:t>MECHANISMEN ZUR BEKÄMPFUNG DER UMWELTVERSCHMUTZUNG</a:t>
            </a:r>
            <a:endParaRPr lang="en-GB" sz="28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6" y="1624439"/>
            <a:ext cx="5299826" cy="4690238"/>
          </a:xfrm>
        </p:spPr>
        <p:txBody>
          <a:bodyPr/>
          <a:lstStyle/>
          <a:p>
            <a:pPr algn="just"/>
            <a:r>
              <a:rPr lang="en-GB" sz="1600" b="1" dirty="0"/>
              <a:t>Kohlenstoffabscheidung und -speicherung (CCS):</a:t>
            </a:r>
            <a:r>
              <a:rPr lang="en-GB" sz="1600" dirty="0"/>
              <a:t> Technologien, die Kohlendioxidemissionen aus industriellen Quellen abfangen und unterirdisch speichern, um zu verhindern, dass sie in die Atmosphäre gelangen. CCS ist von entscheidender Bedeutung für die Verringerung der Treibhausgasemissionen von Kraftwerken und anderen industriellen Aktivitäten und spielt eine Schlüsselrolle bei der Eindämmung des Klimawandels.</a:t>
            </a:r>
          </a:p>
          <a:p>
            <a:pPr algn="just"/>
            <a:endParaRPr lang="en-GB" sz="1600" dirty="0"/>
          </a:p>
          <a:p>
            <a:pPr algn="just"/>
            <a:r>
              <a:rPr lang="en-GB" sz="1600" b="1" dirty="0"/>
              <a:t>Luftfiltrationssysteme:</a:t>
            </a:r>
            <a:r>
              <a:rPr lang="en-GB" sz="1600" dirty="0"/>
              <a:t> Sie entfernen Schadstoffe aus Industrieemissionen, verbessern die Luftqualität und verringern Gesundheitsrisiken. Diese Systeme können Feinstaub, flüchtige organische Verbindungen (VOC) und andere schädliche Stoffe auffangen und so sicherstellen, dass industrielle Prozesse die Umweltstandards erfüllen und die öffentliche Gesundheit schütz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Thermal power station">
            <a:extLst>
              <a:ext uri="{FF2B5EF4-FFF2-40B4-BE49-F238E27FC236}">
                <a16:creationId xmlns:a16="http://schemas.microsoft.com/office/drawing/2014/main" id="{2F47084F-E36D-336E-C1FA-472D0AE02B7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47" r="47"/>
          <a:stretch/>
        </p:blipFill>
        <p:spPr>
          <a:xfrm>
            <a:off x="0" y="0"/>
            <a:ext cx="5875338" cy="6858000"/>
          </a:xfrm>
        </p:spPr>
      </p:pic>
    </p:spTree>
    <p:extLst>
      <p:ext uri="{BB962C8B-B14F-4D97-AF65-F5344CB8AC3E}">
        <p14:creationId xmlns:p14="http://schemas.microsoft.com/office/powerpoint/2010/main" val="4165243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667445C-013F-4A22-7777-11A743F716D1}"/>
              </a:ext>
            </a:extLst>
          </p:cNvPr>
          <p:cNvGraphicFramePr>
            <a:graphicFrameLocks noChangeAspect="1"/>
          </p:cNvGraphicFramePr>
          <p:nvPr>
            <p:custDataLst>
              <p:tags r:id="rId1"/>
            </p:custDataLst>
            <p:extLst>
              <p:ext uri="{D42A27DB-BD31-4B8C-83A1-F6EECF244321}">
                <p14:modId xmlns:p14="http://schemas.microsoft.com/office/powerpoint/2010/main" val="267806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6</a:t>
            </a:fld>
            <a:endParaRPr lang="en-US" dirty="0"/>
          </a:p>
        </p:txBody>
      </p:sp>
      <p:pic>
        <p:nvPicPr>
          <p:cNvPr id="2" name="Picture Placeholder 12">
            <a:extLst>
              <a:ext uri="{FF2B5EF4-FFF2-40B4-BE49-F238E27FC236}">
                <a16:creationId xmlns:a16="http://schemas.microsoft.com/office/drawing/2014/main" id="{FD2F82EF-1E3B-8E85-AC55-5416243AF9DA}"/>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1" b="11"/>
          <a:stretch>
            <a:fillRect/>
          </a:stretch>
        </p:blipFill>
        <p:spPr>
          <a:xfrm>
            <a:off x="773113" y="566738"/>
            <a:ext cx="4656137" cy="2052637"/>
          </a:xfrm>
        </p:spPr>
      </p:pic>
      <p:pic>
        <p:nvPicPr>
          <p:cNvPr id="5" name="Picture Placeholder 14">
            <a:extLst>
              <a:ext uri="{FF2B5EF4-FFF2-40B4-BE49-F238E27FC236}">
                <a16:creationId xmlns:a16="http://schemas.microsoft.com/office/drawing/2014/main" id="{B85EAA29-FF95-1D2A-3E14-09E123BA2724}"/>
              </a:ext>
            </a:extLst>
          </p:cNvPr>
          <p:cNvPicPr>
            <a:picLocks noGrp="1" noChangeAspect="1"/>
          </p:cNvPicPr>
          <p:nvPr>
            <p:ph type="pic" sz="quarter" idx="22"/>
          </p:nvPr>
        </p:nvPicPr>
        <p:blipFill>
          <a:blip r:embed="rId6" cstate="email">
            <a:extLst>
              <a:ext uri="{28A0092B-C50C-407E-A947-70E740481C1C}">
                <a14:useLocalDpi xmlns:a14="http://schemas.microsoft.com/office/drawing/2010/main"/>
              </a:ext>
            </a:extLst>
          </a:blip>
          <a:srcRect t="104" b="104"/>
          <a:stretch>
            <a:fillRect/>
          </a:stretch>
        </p:blipFill>
        <p:spPr>
          <a:xfrm>
            <a:off x="773113" y="2843213"/>
            <a:ext cx="4656137" cy="3343275"/>
          </a:xfrm>
        </p:spPr>
      </p:pic>
      <p:pic>
        <p:nvPicPr>
          <p:cNvPr id="7" name="Picture Placeholder 16">
            <a:extLst>
              <a:ext uri="{FF2B5EF4-FFF2-40B4-BE49-F238E27FC236}">
                <a16:creationId xmlns:a16="http://schemas.microsoft.com/office/drawing/2014/main" id="{0243CA65-9E51-052E-983E-595C82211759}"/>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t="151" b="151"/>
          <a:stretch>
            <a:fillRect/>
          </a:stretch>
        </p:blipFill>
        <p:spPr>
          <a:xfrm>
            <a:off x="5675313" y="546100"/>
            <a:ext cx="5883275" cy="5640388"/>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64BC96-FFB6-623B-1457-6BF47E373214}"/>
              </a:ext>
            </a:extLst>
          </p:cNvPr>
          <p:cNvGraphicFramePr>
            <a:graphicFrameLocks noChangeAspect="1"/>
          </p:cNvGraphicFramePr>
          <p:nvPr>
            <p:custDataLst>
              <p:tags r:id="rId1"/>
            </p:custDataLst>
            <p:extLst>
              <p:ext uri="{D42A27DB-BD31-4B8C-83A1-F6EECF244321}">
                <p14:modId xmlns:p14="http://schemas.microsoft.com/office/powerpoint/2010/main" val="32260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7">
            <a:extLst>
              <a:ext uri="{FF2B5EF4-FFF2-40B4-BE49-F238E27FC236}">
                <a16:creationId xmlns:a16="http://schemas.microsoft.com/office/drawing/2014/main" id="{9CE9FB28-49B0-C673-D9E2-00E81202D4FD}"/>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5713" r="25713"/>
          <a:stretch/>
        </p:blipFill>
        <p:spPr>
          <a:xfrm>
            <a:off x="884238" y="0"/>
            <a:ext cx="4994275" cy="6858000"/>
          </a:xfrm>
        </p:spPr>
      </p:pic>
      <p:sp>
        <p:nvSpPr>
          <p:cNvPr id="3" name="Text Placeholder 2">
            <a:extLst>
              <a:ext uri="{FF2B5EF4-FFF2-40B4-BE49-F238E27FC236}">
                <a16:creationId xmlns:a16="http://schemas.microsoft.com/office/drawing/2014/main" id="{A69C84D3-DAB8-A256-725D-6358D9E3C675}"/>
              </a:ext>
            </a:extLst>
          </p:cNvPr>
          <p:cNvSpPr>
            <a:spLocks noGrp="1"/>
          </p:cNvSpPr>
          <p:nvPr>
            <p:ph type="body" sz="quarter" idx="30"/>
          </p:nvPr>
        </p:nvSpPr>
        <p:spPr>
          <a:xfrm>
            <a:off x="4890795" y="385894"/>
            <a:ext cx="6776598" cy="1195771"/>
          </a:xfrm>
        </p:spPr>
        <p:txBody>
          <a:bodyPr/>
          <a:lstStyle/>
          <a:p>
            <a:r>
              <a:rPr lang="en-IE" dirty="0"/>
              <a:t>BEST PRACTICE: </a:t>
            </a:r>
            <a:br>
              <a:rPr lang="en-IE" dirty="0"/>
            </a:br>
            <a:r>
              <a:rPr lang="en-IE" dirty="0"/>
              <a:t>SAULE TECHNOLOGIEN</a:t>
            </a:r>
          </a:p>
        </p:txBody>
      </p:sp>
      <p:sp>
        <p:nvSpPr>
          <p:cNvPr id="4" name="Text Placeholder 3">
            <a:extLst>
              <a:ext uri="{FF2B5EF4-FFF2-40B4-BE49-F238E27FC236}">
                <a16:creationId xmlns:a16="http://schemas.microsoft.com/office/drawing/2014/main" id="{D763B87B-2E45-7F3C-D8C8-7BD1498202C7}"/>
              </a:ext>
            </a:extLst>
          </p:cNvPr>
          <p:cNvSpPr>
            <a:spLocks noGrp="1"/>
          </p:cNvSpPr>
          <p:nvPr>
            <p:ph type="body" sz="quarter" idx="48"/>
          </p:nvPr>
        </p:nvSpPr>
        <p:spPr>
          <a:xfrm>
            <a:off x="6448813" y="1845579"/>
            <a:ext cx="4993772" cy="4062086"/>
          </a:xfrm>
        </p:spPr>
        <p:txBody>
          <a:bodyPr/>
          <a:lstStyle/>
          <a:p>
            <a:pPr algn="just">
              <a:lnSpc>
                <a:spcPct val="107000"/>
              </a:lnSpc>
              <a:spcAft>
                <a:spcPts val="800"/>
              </a:spcAft>
            </a:pPr>
            <a:r>
              <a:rPr lang="en-GB"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Saule Technologies </a:t>
            </a: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ist führend bei Innovationen im Bereich der sauberen Energie mit Perowskit-Solarzellen und stellt fortschrittliche Umwelt- und Clean-Tech-Lösungen vor. </a:t>
            </a:r>
          </a:p>
        </p:txBody>
      </p:sp>
      <p:pic>
        <p:nvPicPr>
          <p:cNvPr id="6" name="Picture 5">
            <a:extLst>
              <a:ext uri="{FF2B5EF4-FFF2-40B4-BE49-F238E27FC236}">
                <a16:creationId xmlns:a16="http://schemas.microsoft.com/office/drawing/2014/main" id="{2C08C0BE-EEED-000C-EA37-3651796F26A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22119" y="4044462"/>
            <a:ext cx="4847160" cy="1315019"/>
          </a:xfrm>
          <a:prstGeom prst="rect">
            <a:avLst/>
          </a:prstGeom>
        </p:spPr>
      </p:pic>
    </p:spTree>
    <p:extLst>
      <p:ext uri="{BB962C8B-B14F-4D97-AF65-F5344CB8AC3E}">
        <p14:creationId xmlns:p14="http://schemas.microsoft.com/office/powerpoint/2010/main" val="2844764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2C3960-840E-3973-FCD8-4ABF8E80BCA7}"/>
              </a:ext>
            </a:extLst>
          </p:cNvPr>
          <p:cNvSpPr>
            <a:spLocks noGrp="1"/>
          </p:cNvSpPr>
          <p:nvPr>
            <p:ph type="body" sz="quarter" idx="48"/>
          </p:nvPr>
        </p:nvSpPr>
        <p:spPr>
          <a:xfrm>
            <a:off x="6544912" y="645952"/>
            <a:ext cx="4939670" cy="5440815"/>
          </a:xfrm>
        </p:spPr>
        <p:txBody>
          <a:bodyPr/>
          <a:lstStyle/>
          <a:p>
            <a:pPr algn="just">
              <a:lnSpc>
                <a:spcPct val="107000"/>
              </a:lnSpc>
              <a:spcAft>
                <a:spcPts val="800"/>
              </a:spcAft>
            </a:pP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Ihre Arbeit in diesem Bereich verdeutlicht die Anwendung von Spitzentechnologie zur Bewältigung von Umweltproblemen. </a:t>
            </a:r>
          </a:p>
          <a:p>
            <a:pPr algn="just">
              <a:lnSpc>
                <a:spcPct val="107000"/>
              </a:lnSpc>
              <a:spcAft>
                <a:spcPts val="800"/>
              </a:spcAft>
            </a:pPr>
            <a:r>
              <a:rPr lang="en-GB"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Saule Technologies </a:t>
            </a: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konzentriert sich auf umweltfreundliche Lösungen und unterstreicht damit die Rolle der Innovation bei der Förderung der Nachhaltigkeit und der Verringerung des CO2-Fußabdrucks der Energieerzeugung.</a:t>
            </a:r>
          </a:p>
          <a:p>
            <a:pPr algn="just">
              <a:lnSpc>
                <a:spcPct val="107000"/>
              </a:lnSpc>
              <a:spcAft>
                <a:spcPts val="800"/>
              </a:spcAft>
            </a:pP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Erfahren Sie mehr über die Innovationen von </a:t>
            </a:r>
            <a:r>
              <a:rPr lang="en-GB"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Saule Technologies</a:t>
            </a: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 indem Sie unser </a:t>
            </a:r>
            <a:r>
              <a:rPr lang="en-GB" sz="2200" b="1"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hlinkClick r:id="rId3"/>
              </a:rPr>
              <a:t>Kompendium der Fallstudien </a:t>
            </a:r>
            <a:r>
              <a:rPr lang="en-GB" sz="2200" kern="100" dirty="0">
                <a:solidFill>
                  <a:srgbClr val="0F486D"/>
                </a:solidFill>
                <a:effectLst/>
                <a:latin typeface="Calibri" panose="020F0502020204030204" pitchFamily="34" charset="0"/>
                <a:ea typeface="Calibri" panose="020F0502020204030204" pitchFamily="34" charset="0"/>
                <a:cs typeface="Times New Roman" panose="02020603050405020304" pitchFamily="18" charset="0"/>
              </a:rPr>
              <a:t>besuchen. </a:t>
            </a:r>
          </a:p>
        </p:txBody>
      </p:sp>
      <p:pic>
        <p:nvPicPr>
          <p:cNvPr id="2" name="Picture Placeholder 5">
            <a:extLst>
              <a:ext uri="{FF2B5EF4-FFF2-40B4-BE49-F238E27FC236}">
                <a16:creationId xmlns:a16="http://schemas.microsoft.com/office/drawing/2014/main" id="{1A7D71D8-9466-2C9A-200E-F6077F369A6B}"/>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l="21584" r="21584"/>
          <a:stretch/>
        </p:blipFill>
        <p:spPr>
          <a:xfrm>
            <a:off x="0" y="0"/>
            <a:ext cx="5875338" cy="6858000"/>
          </a:xfrm>
        </p:spPr>
      </p:pic>
    </p:spTree>
    <p:extLst>
      <p:ext uri="{BB962C8B-B14F-4D97-AF65-F5344CB8AC3E}">
        <p14:creationId xmlns:p14="http://schemas.microsoft.com/office/powerpoint/2010/main" val="33761152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634A5C-C621-3003-AF66-F2C07707A343}"/>
              </a:ext>
            </a:extLst>
          </p:cNvPr>
          <p:cNvSpPr>
            <a:spLocks noGrp="1"/>
          </p:cNvSpPr>
          <p:nvPr>
            <p:ph type="body" sz="quarter" idx="30"/>
          </p:nvPr>
        </p:nvSpPr>
        <p:spPr>
          <a:xfrm>
            <a:off x="854280" y="714670"/>
            <a:ext cx="10483431" cy="804265"/>
          </a:xfrm>
        </p:spPr>
        <p:txBody>
          <a:bodyPr/>
          <a:lstStyle/>
          <a:p>
            <a:r>
              <a:rPr lang="en-GB" b="1" dirty="0"/>
              <a:t>BEDEUTUNG VON SAUBEREN TECHNOLOGIEN</a:t>
            </a:r>
          </a:p>
          <a:p>
            <a:endParaRPr lang="en-IE" dirty="0"/>
          </a:p>
        </p:txBody>
      </p:sp>
      <p:sp>
        <p:nvSpPr>
          <p:cNvPr id="3" name="Text Placeholder 2">
            <a:extLst>
              <a:ext uri="{FF2B5EF4-FFF2-40B4-BE49-F238E27FC236}">
                <a16:creationId xmlns:a16="http://schemas.microsoft.com/office/drawing/2014/main" id="{52789E04-0E4D-0CFD-CC2A-236185581DBC}"/>
              </a:ext>
            </a:extLst>
          </p:cNvPr>
          <p:cNvSpPr>
            <a:spLocks noGrp="1"/>
          </p:cNvSpPr>
          <p:nvPr>
            <p:ph type="body" sz="quarter" idx="48"/>
          </p:nvPr>
        </p:nvSpPr>
        <p:spPr>
          <a:xfrm>
            <a:off x="854280" y="1729945"/>
            <a:ext cx="10483429" cy="4439577"/>
          </a:xfrm>
        </p:spPr>
        <p:txBody>
          <a:bodyPr/>
          <a:lstStyle/>
          <a:p>
            <a:pPr marL="342900" indent="-342900" algn="just">
              <a:buFont typeface="Arial" panose="020B0604020202020204" pitchFamily="34" charset="0"/>
              <a:buChar char="•"/>
            </a:pPr>
            <a:r>
              <a:rPr lang="en-GB" sz="1800" b="1" dirty="0"/>
              <a:t>Abschwächung des Klimawandels:</a:t>
            </a:r>
            <a:r>
              <a:rPr lang="en-GB" sz="1800" dirty="0"/>
              <a:t> Clean-Tech-Lösungen spielen eine entscheidende Rolle bei der Verringerung der Treibhausgasemissionen, die die Hauptursache des Klimawandels sind. Durch die Abkehr von fossilen Brennstoffen und die Nutzung erneuerbarer Energiequellen können wir unseren CO2-Fußabdruck deutlich verringern.</a:t>
            </a:r>
          </a:p>
          <a:p>
            <a:pPr marL="171450" indent="-171450" algn="just">
              <a:buFont typeface="Arial" panose="020B0604020202020204" pitchFamily="34" charset="0"/>
              <a:buChar char="•"/>
            </a:pPr>
            <a:endParaRPr lang="en-GB" sz="900" b="1" dirty="0"/>
          </a:p>
          <a:p>
            <a:pPr marL="342900" indent="-342900" algn="just">
              <a:buFont typeface="Arial" panose="020B0604020202020204" pitchFamily="34" charset="0"/>
              <a:buChar char="•"/>
            </a:pPr>
            <a:r>
              <a:rPr lang="en-GB" sz="1800" b="1" dirty="0"/>
              <a:t>Ressourcenschonung:</a:t>
            </a:r>
            <a:r>
              <a:rPr lang="en-GB" sz="1800" dirty="0"/>
              <a:t> Saubere Technologien fördern die effiziente Nutzung von Ressourcen wie Wasser und Energie und unterstützen das Recycling und die Wiederverwendung von Materialien. Dies trägt dazu bei, die natürlichen Ressourcen für künftige Generationen zu erhalten.</a:t>
            </a:r>
          </a:p>
          <a:p>
            <a:pPr marL="171450" indent="-171450" algn="just">
              <a:buFont typeface="Arial" panose="020B0604020202020204" pitchFamily="34" charset="0"/>
              <a:buChar char="•"/>
            </a:pPr>
            <a:endParaRPr lang="en-GB" sz="900" b="1" dirty="0"/>
          </a:p>
          <a:p>
            <a:pPr marL="342900" indent="-342900" algn="just">
              <a:buFont typeface="Arial" panose="020B0604020202020204" pitchFamily="34" charset="0"/>
              <a:buChar char="•"/>
            </a:pPr>
            <a:r>
              <a:rPr lang="en-GB" sz="1800" b="1" dirty="0"/>
              <a:t>Verbesserung der öffentlichen Gesundheit:</a:t>
            </a:r>
            <a:r>
              <a:rPr lang="en-GB" sz="1800" dirty="0"/>
              <a:t> Durch die Verringerung von Umweltverschmutzung und Umweltzerstörung tragen saubere Technologien zu sauberer Luft und sauberem Wasser bei, was für die öffentliche Gesundheit von entscheidender Bedeutung ist. Technologien, die Emissionen und Abfälle reduzieren, können zu weniger umweltbedingten Gesundheitsproblemen wie Atemwegserkrankungen und Herz-Kreislauf-Erkrankungen führen.</a:t>
            </a:r>
          </a:p>
          <a:p>
            <a:pPr marL="171450" indent="-171450" algn="just">
              <a:buFont typeface="Arial" panose="020B0604020202020204" pitchFamily="34" charset="0"/>
              <a:buChar char="•"/>
            </a:pPr>
            <a:endParaRPr lang="en-GB" sz="900" b="1" dirty="0"/>
          </a:p>
          <a:p>
            <a:pPr marL="342900" indent="-342900" algn="just">
              <a:buFont typeface="Arial" panose="020B0604020202020204" pitchFamily="34" charset="0"/>
              <a:buChar char="•"/>
            </a:pPr>
            <a:r>
              <a:rPr lang="en-GB" sz="1800" b="1" dirty="0"/>
              <a:t>Wirtschaftlicher Nutzen:</a:t>
            </a:r>
            <a:r>
              <a:rPr lang="en-GB" sz="1800" dirty="0"/>
              <a:t> Investitionen in saubere Technologien können das Wirtschaftswachstum ankurbeln, indem sie neue Industrien und Beschäftigungsmöglichkeiten schaffen. Sie verringern auch die Abhängigkeit von endlichen Ressourcen wie fossilen Brennstoffen, deren Marktpreise schwanken können.</a:t>
            </a:r>
          </a:p>
          <a:p>
            <a:pPr algn="just"/>
            <a:endParaRPr lang="en-IE" sz="1800" dirty="0"/>
          </a:p>
        </p:txBody>
      </p:sp>
      <p:grpSp>
        <p:nvGrpSpPr>
          <p:cNvPr id="4" name="Group 3">
            <a:extLst>
              <a:ext uri="{FF2B5EF4-FFF2-40B4-BE49-F238E27FC236}">
                <a16:creationId xmlns:a16="http://schemas.microsoft.com/office/drawing/2014/main" id="{4B032F33-694F-CA40-C789-D02A08819540}"/>
              </a:ext>
            </a:extLst>
          </p:cNvPr>
          <p:cNvGrpSpPr/>
          <p:nvPr/>
        </p:nvGrpSpPr>
        <p:grpSpPr>
          <a:xfrm>
            <a:off x="10173858" y="529389"/>
            <a:ext cx="910779" cy="1071197"/>
            <a:chOff x="5846399" y="5075944"/>
            <a:chExt cx="910779" cy="912108"/>
          </a:xfrm>
          <a:solidFill>
            <a:srgbClr val="0F486D"/>
          </a:solidFill>
        </p:grpSpPr>
        <p:grpSp>
          <p:nvGrpSpPr>
            <p:cNvPr id="5" name="Graphic 2">
              <a:extLst>
                <a:ext uri="{FF2B5EF4-FFF2-40B4-BE49-F238E27FC236}">
                  <a16:creationId xmlns:a16="http://schemas.microsoft.com/office/drawing/2014/main" id="{E301BEFC-9F58-5FB3-28EC-A92FF085C88E}"/>
                </a:ext>
              </a:extLst>
            </p:cNvPr>
            <p:cNvGrpSpPr/>
            <p:nvPr userDrawn="1"/>
          </p:nvGrpSpPr>
          <p:grpSpPr>
            <a:xfrm>
              <a:off x="6118625" y="5123402"/>
              <a:ext cx="376897" cy="533617"/>
              <a:chOff x="2711364" y="4936062"/>
              <a:chExt cx="376897" cy="533617"/>
            </a:xfrm>
            <a:grpFill/>
          </p:grpSpPr>
          <p:sp>
            <p:nvSpPr>
              <p:cNvPr id="17" name="Freeform 281">
                <a:extLst>
                  <a:ext uri="{FF2B5EF4-FFF2-40B4-BE49-F238E27FC236}">
                    <a16:creationId xmlns:a16="http://schemas.microsoft.com/office/drawing/2014/main" id="{0FFB8E80-FA1F-912E-CC30-FE0C20FC6562}"/>
                  </a:ext>
                </a:extLst>
              </p:cNvPr>
              <p:cNvSpPr/>
              <p:nvPr/>
            </p:nvSpPr>
            <p:spPr>
              <a:xfrm>
                <a:off x="2711364" y="4936062"/>
                <a:ext cx="376897" cy="408053"/>
              </a:xfrm>
              <a:custGeom>
                <a:avLst/>
                <a:gdLst>
                  <a:gd name="connsiteX0" fmla="*/ 125501 w 376897"/>
                  <a:gd name="connsiteY0" fmla="*/ 282489 h 408053"/>
                  <a:gd name="connsiteX1" fmla="*/ 125501 w 376897"/>
                  <a:gd name="connsiteY1" fmla="*/ 407669 h 408053"/>
                  <a:gd name="connsiteX2" fmla="*/ 94415 w 376897"/>
                  <a:gd name="connsiteY2" fmla="*/ 407669 h 408053"/>
                  <a:gd name="connsiteX3" fmla="*/ 46827 w 376897"/>
                  <a:gd name="connsiteY3" fmla="*/ 310136 h 408053"/>
                  <a:gd name="connsiteX4" fmla="*/ 6 w 376897"/>
                  <a:gd name="connsiteY4" fmla="*/ 192252 h 408053"/>
                  <a:gd name="connsiteX5" fmla="*/ 166181 w 376897"/>
                  <a:gd name="connsiteY5" fmla="*/ 1410 h 408053"/>
                  <a:gd name="connsiteX6" fmla="*/ 366895 w 376897"/>
                  <a:gd name="connsiteY6" fmla="*/ 248314 h 408053"/>
                  <a:gd name="connsiteX7" fmla="*/ 335426 w 376897"/>
                  <a:gd name="connsiteY7" fmla="*/ 303225 h 408053"/>
                  <a:gd name="connsiteX8" fmla="*/ 320075 w 376897"/>
                  <a:gd name="connsiteY8" fmla="*/ 322424 h 408053"/>
                  <a:gd name="connsiteX9" fmla="*/ 282465 w 376897"/>
                  <a:gd name="connsiteY9" fmla="*/ 408053 h 408053"/>
                  <a:gd name="connsiteX10" fmla="*/ 251763 w 376897"/>
                  <a:gd name="connsiteY10" fmla="*/ 408053 h 408053"/>
                  <a:gd name="connsiteX11" fmla="*/ 251763 w 376897"/>
                  <a:gd name="connsiteY11" fmla="*/ 282873 h 408053"/>
                  <a:gd name="connsiteX12" fmla="*/ 267114 w 376897"/>
                  <a:gd name="connsiteY12" fmla="*/ 282873 h 408053"/>
                  <a:gd name="connsiteX13" fmla="*/ 313934 w 376897"/>
                  <a:gd name="connsiteY13" fmla="*/ 234875 h 408053"/>
                  <a:gd name="connsiteX14" fmla="*/ 267114 w 376897"/>
                  <a:gd name="connsiteY14" fmla="*/ 188796 h 408053"/>
                  <a:gd name="connsiteX15" fmla="*/ 219909 w 376897"/>
                  <a:gd name="connsiteY15" fmla="*/ 235259 h 408053"/>
                  <a:gd name="connsiteX16" fmla="*/ 219909 w 376897"/>
                  <a:gd name="connsiteY16" fmla="*/ 250618 h 408053"/>
                  <a:gd name="connsiteX17" fmla="*/ 156970 w 376897"/>
                  <a:gd name="connsiteY17" fmla="*/ 250618 h 408053"/>
                  <a:gd name="connsiteX18" fmla="*/ 156970 w 376897"/>
                  <a:gd name="connsiteY18" fmla="*/ 234491 h 408053"/>
                  <a:gd name="connsiteX19" fmla="*/ 109382 w 376897"/>
                  <a:gd name="connsiteY19" fmla="*/ 188412 h 408053"/>
                  <a:gd name="connsiteX20" fmla="*/ 62945 w 376897"/>
                  <a:gd name="connsiteY20" fmla="*/ 234875 h 408053"/>
                  <a:gd name="connsiteX21" fmla="*/ 108998 w 376897"/>
                  <a:gd name="connsiteY21" fmla="*/ 282489 h 408053"/>
                  <a:gd name="connsiteX22" fmla="*/ 125501 w 376897"/>
                  <a:gd name="connsiteY22" fmla="*/ 282489 h 40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6897" h="408053">
                    <a:moveTo>
                      <a:pt x="125501" y="282489"/>
                    </a:moveTo>
                    <a:cubicBezTo>
                      <a:pt x="125501" y="325112"/>
                      <a:pt x="125501" y="365815"/>
                      <a:pt x="125501" y="407669"/>
                    </a:cubicBezTo>
                    <a:cubicBezTo>
                      <a:pt x="115522" y="407669"/>
                      <a:pt x="105544" y="407669"/>
                      <a:pt x="94415" y="407669"/>
                    </a:cubicBezTo>
                    <a:cubicBezTo>
                      <a:pt x="94799" y="367735"/>
                      <a:pt x="71005" y="338552"/>
                      <a:pt x="46827" y="310136"/>
                    </a:cubicBezTo>
                    <a:cubicBezTo>
                      <a:pt x="18044" y="275962"/>
                      <a:pt x="774" y="237947"/>
                      <a:pt x="6" y="192252"/>
                    </a:cubicBezTo>
                    <a:cubicBezTo>
                      <a:pt x="-761" y="94335"/>
                      <a:pt x="69086" y="13314"/>
                      <a:pt x="166181" y="1410"/>
                    </a:cubicBezTo>
                    <a:cubicBezTo>
                      <a:pt x="302805" y="-15102"/>
                      <a:pt x="411029" y="116222"/>
                      <a:pt x="366895" y="248314"/>
                    </a:cubicBezTo>
                    <a:cubicBezTo>
                      <a:pt x="360371" y="267898"/>
                      <a:pt x="346555" y="285177"/>
                      <a:pt x="335426" y="303225"/>
                    </a:cubicBezTo>
                    <a:cubicBezTo>
                      <a:pt x="331204" y="310136"/>
                      <a:pt x="325447" y="316280"/>
                      <a:pt x="320075" y="322424"/>
                    </a:cubicBezTo>
                    <a:cubicBezTo>
                      <a:pt x="299734" y="347383"/>
                      <a:pt x="282849" y="373879"/>
                      <a:pt x="282465" y="408053"/>
                    </a:cubicBezTo>
                    <a:cubicBezTo>
                      <a:pt x="272103" y="408053"/>
                      <a:pt x="262125" y="408053"/>
                      <a:pt x="251763" y="408053"/>
                    </a:cubicBezTo>
                    <a:cubicBezTo>
                      <a:pt x="251763" y="366583"/>
                      <a:pt x="251763" y="325496"/>
                      <a:pt x="251763" y="282873"/>
                    </a:cubicBezTo>
                    <a:cubicBezTo>
                      <a:pt x="256752" y="282873"/>
                      <a:pt x="261741" y="282873"/>
                      <a:pt x="267114" y="282873"/>
                    </a:cubicBezTo>
                    <a:cubicBezTo>
                      <a:pt x="293978" y="282105"/>
                      <a:pt x="314318" y="260986"/>
                      <a:pt x="313934" y="234875"/>
                    </a:cubicBezTo>
                    <a:cubicBezTo>
                      <a:pt x="313551" y="209531"/>
                      <a:pt x="292443" y="188796"/>
                      <a:pt x="267114" y="188796"/>
                    </a:cubicBezTo>
                    <a:cubicBezTo>
                      <a:pt x="241401" y="188796"/>
                      <a:pt x="220677" y="209148"/>
                      <a:pt x="219909" y="235259"/>
                    </a:cubicBezTo>
                    <a:cubicBezTo>
                      <a:pt x="219909" y="240250"/>
                      <a:pt x="219909" y="245243"/>
                      <a:pt x="219909" y="250618"/>
                    </a:cubicBezTo>
                    <a:cubicBezTo>
                      <a:pt x="199186" y="250618"/>
                      <a:pt x="178845" y="250618"/>
                      <a:pt x="156970" y="250618"/>
                    </a:cubicBezTo>
                    <a:cubicBezTo>
                      <a:pt x="156970" y="245626"/>
                      <a:pt x="156970" y="240250"/>
                      <a:pt x="156970" y="234491"/>
                    </a:cubicBezTo>
                    <a:cubicBezTo>
                      <a:pt x="155819" y="208379"/>
                      <a:pt x="135095" y="188028"/>
                      <a:pt x="109382" y="188412"/>
                    </a:cubicBezTo>
                    <a:cubicBezTo>
                      <a:pt x="84053" y="188796"/>
                      <a:pt x="63329" y="209531"/>
                      <a:pt x="62945" y="234875"/>
                    </a:cubicBezTo>
                    <a:cubicBezTo>
                      <a:pt x="62562" y="260602"/>
                      <a:pt x="82902" y="281721"/>
                      <a:pt x="108998" y="282489"/>
                    </a:cubicBezTo>
                    <a:cubicBezTo>
                      <a:pt x="114371" y="282873"/>
                      <a:pt x="119360" y="282489"/>
                      <a:pt x="125501" y="282489"/>
                    </a:cubicBezTo>
                    <a:close/>
                  </a:path>
                </a:pathLst>
              </a:custGeom>
              <a:solidFill>
                <a:srgbClr val="60BA47"/>
              </a:solidFill>
              <a:ln w="3834" cap="flat">
                <a:noFill/>
                <a:prstDash val="solid"/>
                <a:miter/>
              </a:ln>
            </p:spPr>
            <p:txBody>
              <a:bodyPr rtlCol="0" anchor="ctr"/>
              <a:lstStyle/>
              <a:p>
                <a:endParaRPr lang="en-US"/>
              </a:p>
            </p:txBody>
          </p:sp>
          <p:sp>
            <p:nvSpPr>
              <p:cNvPr id="18" name="Freeform 282">
                <a:extLst>
                  <a:ext uri="{FF2B5EF4-FFF2-40B4-BE49-F238E27FC236}">
                    <a16:creationId xmlns:a16="http://schemas.microsoft.com/office/drawing/2014/main" id="{90762C19-0915-D9CE-1B58-D322DBA4B817}"/>
                  </a:ext>
                </a:extLst>
              </p:cNvPr>
              <p:cNvSpPr/>
              <p:nvPr/>
            </p:nvSpPr>
            <p:spPr>
              <a:xfrm>
                <a:off x="2869101" y="5218935"/>
                <a:ext cx="61404" cy="124796"/>
              </a:xfrm>
              <a:custGeom>
                <a:avLst/>
                <a:gdLst>
                  <a:gd name="connsiteX0" fmla="*/ 0 w 61404"/>
                  <a:gd name="connsiteY0" fmla="*/ 0 h 124796"/>
                  <a:gd name="connsiteX1" fmla="*/ 61404 w 61404"/>
                  <a:gd name="connsiteY1" fmla="*/ 0 h 124796"/>
                  <a:gd name="connsiteX2" fmla="*/ 61404 w 61404"/>
                  <a:gd name="connsiteY2" fmla="*/ 124796 h 124796"/>
                  <a:gd name="connsiteX3" fmla="*/ 0 w 61404"/>
                  <a:gd name="connsiteY3" fmla="*/ 124796 h 124796"/>
                  <a:gd name="connsiteX4" fmla="*/ 0 w 61404"/>
                  <a:gd name="connsiteY4" fmla="*/ 0 h 124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404" h="124796">
                    <a:moveTo>
                      <a:pt x="0" y="0"/>
                    </a:moveTo>
                    <a:cubicBezTo>
                      <a:pt x="20724" y="0"/>
                      <a:pt x="40680" y="0"/>
                      <a:pt x="61404" y="0"/>
                    </a:cubicBezTo>
                    <a:cubicBezTo>
                      <a:pt x="61404" y="41471"/>
                      <a:pt x="61404" y="82941"/>
                      <a:pt x="61404" y="124796"/>
                    </a:cubicBezTo>
                    <a:cubicBezTo>
                      <a:pt x="41448" y="124796"/>
                      <a:pt x="21108" y="124796"/>
                      <a:pt x="0" y="124796"/>
                    </a:cubicBezTo>
                    <a:cubicBezTo>
                      <a:pt x="0" y="83326"/>
                      <a:pt x="0" y="42239"/>
                      <a:pt x="0" y="0"/>
                    </a:cubicBezTo>
                    <a:close/>
                  </a:path>
                </a:pathLst>
              </a:custGeom>
              <a:grpFill/>
              <a:ln w="3834" cap="flat">
                <a:noFill/>
                <a:prstDash val="solid"/>
                <a:miter/>
              </a:ln>
            </p:spPr>
            <p:txBody>
              <a:bodyPr rtlCol="0" anchor="ctr"/>
              <a:lstStyle/>
              <a:p>
                <a:endParaRPr lang="en-US"/>
              </a:p>
            </p:txBody>
          </p:sp>
          <p:sp>
            <p:nvSpPr>
              <p:cNvPr id="19" name="Freeform 283">
                <a:extLst>
                  <a:ext uri="{FF2B5EF4-FFF2-40B4-BE49-F238E27FC236}">
                    <a16:creationId xmlns:a16="http://schemas.microsoft.com/office/drawing/2014/main" id="{86307DE1-DA2B-A1B0-FAB9-AA0B7B86EBD5}"/>
                  </a:ext>
                </a:extLst>
              </p:cNvPr>
              <p:cNvSpPr/>
              <p:nvPr/>
            </p:nvSpPr>
            <p:spPr>
              <a:xfrm>
                <a:off x="2837632" y="5376370"/>
                <a:ext cx="124342" cy="30334"/>
              </a:xfrm>
              <a:custGeom>
                <a:avLst/>
                <a:gdLst>
                  <a:gd name="connsiteX0" fmla="*/ 0 w 124342"/>
                  <a:gd name="connsiteY0" fmla="*/ 0 h 30334"/>
                  <a:gd name="connsiteX1" fmla="*/ 124343 w 124342"/>
                  <a:gd name="connsiteY1" fmla="*/ 0 h 30334"/>
                  <a:gd name="connsiteX2" fmla="*/ 124343 w 124342"/>
                  <a:gd name="connsiteY2" fmla="*/ 30335 h 30334"/>
                  <a:gd name="connsiteX3" fmla="*/ 0 w 124342"/>
                  <a:gd name="connsiteY3" fmla="*/ 30335 h 30334"/>
                  <a:gd name="connsiteX4" fmla="*/ 0 w 124342"/>
                  <a:gd name="connsiteY4" fmla="*/ 0 h 30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42" h="30334">
                    <a:moveTo>
                      <a:pt x="0" y="0"/>
                    </a:moveTo>
                    <a:cubicBezTo>
                      <a:pt x="41448" y="0"/>
                      <a:pt x="82512" y="0"/>
                      <a:pt x="124343" y="0"/>
                    </a:cubicBezTo>
                    <a:cubicBezTo>
                      <a:pt x="124343" y="9984"/>
                      <a:pt x="124343" y="19967"/>
                      <a:pt x="124343" y="30335"/>
                    </a:cubicBezTo>
                    <a:cubicBezTo>
                      <a:pt x="83279" y="30335"/>
                      <a:pt x="41831" y="30335"/>
                      <a:pt x="0" y="30335"/>
                    </a:cubicBezTo>
                    <a:cubicBezTo>
                      <a:pt x="0" y="20351"/>
                      <a:pt x="0" y="10752"/>
                      <a:pt x="0" y="0"/>
                    </a:cubicBezTo>
                    <a:close/>
                  </a:path>
                </a:pathLst>
              </a:custGeom>
              <a:grpFill/>
              <a:ln w="3834" cap="flat">
                <a:noFill/>
                <a:prstDash val="solid"/>
                <a:miter/>
              </a:ln>
            </p:spPr>
            <p:txBody>
              <a:bodyPr rtlCol="0" anchor="ctr"/>
              <a:lstStyle/>
              <a:p>
                <a:endParaRPr lang="en-US"/>
              </a:p>
            </p:txBody>
          </p:sp>
          <p:sp>
            <p:nvSpPr>
              <p:cNvPr id="20" name="Freeform 284">
                <a:extLst>
                  <a:ext uri="{FF2B5EF4-FFF2-40B4-BE49-F238E27FC236}">
                    <a16:creationId xmlns:a16="http://schemas.microsoft.com/office/drawing/2014/main" id="{01624F0A-4E91-1A8E-3260-35427A6FCD6C}"/>
                  </a:ext>
                </a:extLst>
              </p:cNvPr>
              <p:cNvSpPr/>
              <p:nvPr/>
            </p:nvSpPr>
            <p:spPr>
              <a:xfrm>
                <a:off x="2857588" y="5439344"/>
                <a:ext cx="84814" cy="30335"/>
              </a:xfrm>
              <a:custGeom>
                <a:avLst/>
                <a:gdLst>
                  <a:gd name="connsiteX0" fmla="*/ 84814 w 84814"/>
                  <a:gd name="connsiteY0" fmla="*/ 0 h 30335"/>
                  <a:gd name="connsiteX1" fmla="*/ 77523 w 84814"/>
                  <a:gd name="connsiteY1" fmla="*/ 30335 h 30335"/>
                  <a:gd name="connsiteX2" fmla="*/ 7676 w 84814"/>
                  <a:gd name="connsiteY2" fmla="*/ 30335 h 30335"/>
                  <a:gd name="connsiteX3" fmla="*/ 0 w 84814"/>
                  <a:gd name="connsiteY3" fmla="*/ 0 h 30335"/>
                  <a:gd name="connsiteX4" fmla="*/ 84814 w 84814"/>
                  <a:gd name="connsiteY4" fmla="*/ 0 h 3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14" h="30335">
                    <a:moveTo>
                      <a:pt x="84814" y="0"/>
                    </a:moveTo>
                    <a:cubicBezTo>
                      <a:pt x="82128" y="10368"/>
                      <a:pt x="79825" y="19967"/>
                      <a:pt x="77523" y="30335"/>
                    </a:cubicBezTo>
                    <a:cubicBezTo>
                      <a:pt x="54496" y="30335"/>
                      <a:pt x="31854" y="30335"/>
                      <a:pt x="7676" y="30335"/>
                    </a:cubicBezTo>
                    <a:cubicBezTo>
                      <a:pt x="5373" y="20735"/>
                      <a:pt x="2686" y="10752"/>
                      <a:pt x="0" y="0"/>
                    </a:cubicBezTo>
                    <a:cubicBezTo>
                      <a:pt x="28016" y="0"/>
                      <a:pt x="55647" y="0"/>
                      <a:pt x="84814" y="0"/>
                    </a:cubicBezTo>
                    <a:close/>
                  </a:path>
                </a:pathLst>
              </a:custGeom>
              <a:grpFill/>
              <a:ln w="3834" cap="flat">
                <a:noFill/>
                <a:prstDash val="solid"/>
                <a:miter/>
              </a:ln>
            </p:spPr>
            <p:txBody>
              <a:bodyPr rtlCol="0" anchor="ctr"/>
              <a:lstStyle/>
              <a:p>
                <a:endParaRPr lang="en-US"/>
              </a:p>
            </p:txBody>
          </p:sp>
          <p:sp>
            <p:nvSpPr>
              <p:cNvPr id="21" name="Freeform 285">
                <a:extLst>
                  <a:ext uri="{FF2B5EF4-FFF2-40B4-BE49-F238E27FC236}">
                    <a16:creationId xmlns:a16="http://schemas.microsoft.com/office/drawing/2014/main" id="{A01223DB-DEB4-3364-8EFF-B0AD26CAF93F}"/>
                  </a:ext>
                </a:extLst>
              </p:cNvPr>
              <p:cNvSpPr/>
              <p:nvPr/>
            </p:nvSpPr>
            <p:spPr>
              <a:xfrm>
                <a:off x="2805762" y="5155943"/>
                <a:ext cx="31444" cy="31291"/>
              </a:xfrm>
              <a:custGeom>
                <a:avLst/>
                <a:gdLst>
                  <a:gd name="connsiteX0" fmla="*/ 31103 w 31444"/>
                  <a:gd name="connsiteY0" fmla="*/ 31121 h 31291"/>
                  <a:gd name="connsiteX1" fmla="*/ 14217 w 31444"/>
                  <a:gd name="connsiteY1" fmla="*/ 31121 h 31291"/>
                  <a:gd name="connsiteX2" fmla="*/ 17 w 31444"/>
                  <a:gd name="connsiteY2" fmla="*/ 15378 h 31291"/>
                  <a:gd name="connsiteX3" fmla="*/ 14984 w 31444"/>
                  <a:gd name="connsiteY3" fmla="*/ 18 h 31291"/>
                  <a:gd name="connsiteX4" fmla="*/ 31103 w 31444"/>
                  <a:gd name="connsiteY4" fmla="*/ 13842 h 31291"/>
                  <a:gd name="connsiteX5" fmla="*/ 31103 w 31444"/>
                  <a:gd name="connsiteY5" fmla="*/ 31121 h 3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44" h="31291">
                    <a:moveTo>
                      <a:pt x="31103" y="31121"/>
                    </a:moveTo>
                    <a:cubicBezTo>
                      <a:pt x="24579" y="31121"/>
                      <a:pt x="19206" y="31505"/>
                      <a:pt x="14217" y="31121"/>
                    </a:cubicBezTo>
                    <a:cubicBezTo>
                      <a:pt x="5774" y="30353"/>
                      <a:pt x="-367" y="23442"/>
                      <a:pt x="17" y="15378"/>
                    </a:cubicBezTo>
                    <a:cubicBezTo>
                      <a:pt x="17" y="7314"/>
                      <a:pt x="6925" y="402"/>
                      <a:pt x="14984" y="18"/>
                    </a:cubicBezTo>
                    <a:cubicBezTo>
                      <a:pt x="23044" y="-366"/>
                      <a:pt x="30335" y="5394"/>
                      <a:pt x="31103" y="13842"/>
                    </a:cubicBezTo>
                    <a:cubicBezTo>
                      <a:pt x="31871" y="19218"/>
                      <a:pt x="31103" y="24977"/>
                      <a:pt x="31103" y="31121"/>
                    </a:cubicBezTo>
                    <a:close/>
                  </a:path>
                </a:pathLst>
              </a:custGeom>
              <a:grpFill/>
              <a:ln w="3834" cap="flat">
                <a:noFill/>
                <a:prstDash val="solid"/>
                <a:miter/>
              </a:ln>
            </p:spPr>
            <p:txBody>
              <a:bodyPr rtlCol="0" anchor="ctr"/>
              <a:lstStyle/>
              <a:p>
                <a:endParaRPr lang="en-US"/>
              </a:p>
            </p:txBody>
          </p:sp>
          <p:sp>
            <p:nvSpPr>
              <p:cNvPr id="22" name="Freeform 286">
                <a:extLst>
                  <a:ext uri="{FF2B5EF4-FFF2-40B4-BE49-F238E27FC236}">
                    <a16:creationId xmlns:a16="http://schemas.microsoft.com/office/drawing/2014/main" id="{247905BE-C39C-7AFA-F50E-865A4C93D01E}"/>
                  </a:ext>
                </a:extLst>
              </p:cNvPr>
              <p:cNvSpPr/>
              <p:nvPr/>
            </p:nvSpPr>
            <p:spPr>
              <a:xfrm>
                <a:off x="2962572" y="5155944"/>
                <a:ext cx="31274" cy="31504"/>
              </a:xfrm>
              <a:custGeom>
                <a:avLst/>
                <a:gdLst>
                  <a:gd name="connsiteX0" fmla="*/ 171 w 31274"/>
                  <a:gd name="connsiteY0" fmla="*/ 31504 h 31504"/>
                  <a:gd name="connsiteX1" fmla="*/ 171 w 31274"/>
                  <a:gd name="connsiteY1" fmla="*/ 14225 h 31504"/>
                  <a:gd name="connsiteX2" fmla="*/ 15905 w 31274"/>
                  <a:gd name="connsiteY2" fmla="*/ 17 h 31504"/>
                  <a:gd name="connsiteX3" fmla="*/ 31256 w 31274"/>
                  <a:gd name="connsiteY3" fmla="*/ 14993 h 31504"/>
                  <a:gd name="connsiteX4" fmla="*/ 17440 w 31274"/>
                  <a:gd name="connsiteY4" fmla="*/ 31120 h 31504"/>
                  <a:gd name="connsiteX5" fmla="*/ 12451 w 31274"/>
                  <a:gd name="connsiteY5" fmla="*/ 31120 h 31504"/>
                  <a:gd name="connsiteX6" fmla="*/ 171 w 31274"/>
                  <a:gd name="connsiteY6" fmla="*/ 31504 h 3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4" h="31504">
                    <a:moveTo>
                      <a:pt x="171" y="31504"/>
                    </a:moveTo>
                    <a:cubicBezTo>
                      <a:pt x="171" y="24976"/>
                      <a:pt x="-213" y="19601"/>
                      <a:pt x="171" y="14225"/>
                    </a:cubicBezTo>
                    <a:cubicBezTo>
                      <a:pt x="938" y="5777"/>
                      <a:pt x="7846" y="-367"/>
                      <a:pt x="15905" y="17"/>
                    </a:cubicBezTo>
                    <a:cubicBezTo>
                      <a:pt x="23965" y="17"/>
                      <a:pt x="30873" y="6929"/>
                      <a:pt x="31256" y="14993"/>
                    </a:cubicBezTo>
                    <a:cubicBezTo>
                      <a:pt x="31640" y="23056"/>
                      <a:pt x="25883" y="29968"/>
                      <a:pt x="17440" y="31120"/>
                    </a:cubicBezTo>
                    <a:cubicBezTo>
                      <a:pt x="15905" y="31504"/>
                      <a:pt x="14370" y="31120"/>
                      <a:pt x="12451" y="31120"/>
                    </a:cubicBezTo>
                    <a:cubicBezTo>
                      <a:pt x="8997" y="31504"/>
                      <a:pt x="5160" y="31504"/>
                      <a:pt x="171" y="31504"/>
                    </a:cubicBezTo>
                    <a:close/>
                  </a:path>
                </a:pathLst>
              </a:custGeom>
              <a:grpFill/>
              <a:ln w="3834" cap="flat">
                <a:noFill/>
                <a:prstDash val="solid"/>
                <a:miter/>
              </a:ln>
            </p:spPr>
            <p:txBody>
              <a:bodyPr rtlCol="0" anchor="ctr"/>
              <a:lstStyle/>
              <a:p>
                <a:endParaRPr lang="en-US"/>
              </a:p>
            </p:txBody>
          </p:sp>
        </p:grpSp>
        <p:grpSp>
          <p:nvGrpSpPr>
            <p:cNvPr id="6" name="Graphic 2">
              <a:extLst>
                <a:ext uri="{FF2B5EF4-FFF2-40B4-BE49-F238E27FC236}">
                  <a16:creationId xmlns:a16="http://schemas.microsoft.com/office/drawing/2014/main" id="{3D4A017C-6E93-E300-8F53-383154F855DA}"/>
                </a:ext>
              </a:extLst>
            </p:cNvPr>
            <p:cNvGrpSpPr/>
            <p:nvPr userDrawn="1"/>
          </p:nvGrpSpPr>
          <p:grpSpPr>
            <a:xfrm>
              <a:off x="5846399" y="5075944"/>
              <a:ext cx="910779" cy="912108"/>
              <a:chOff x="2444246" y="4903928"/>
              <a:chExt cx="910779" cy="912108"/>
            </a:xfrm>
            <a:grpFill/>
          </p:grpSpPr>
          <p:sp>
            <p:nvSpPr>
              <p:cNvPr id="7" name="Freeform 271">
                <a:extLst>
                  <a:ext uri="{FF2B5EF4-FFF2-40B4-BE49-F238E27FC236}">
                    <a16:creationId xmlns:a16="http://schemas.microsoft.com/office/drawing/2014/main" id="{67C8FB1C-7E0E-C81C-4B61-7287180C639F}"/>
                  </a:ext>
                </a:extLst>
              </p:cNvPr>
              <p:cNvSpPr/>
              <p:nvPr/>
            </p:nvSpPr>
            <p:spPr>
              <a:xfrm>
                <a:off x="2679955" y="4903928"/>
                <a:ext cx="440062" cy="597910"/>
              </a:xfrm>
              <a:custGeom>
                <a:avLst/>
                <a:gdLst>
                  <a:gd name="connsiteX0" fmla="*/ 314257 w 440062"/>
                  <a:gd name="connsiteY0" fmla="*/ 472826 h 597910"/>
                  <a:gd name="connsiteX1" fmla="*/ 314257 w 440062"/>
                  <a:gd name="connsiteY1" fmla="*/ 502777 h 597910"/>
                  <a:gd name="connsiteX2" fmla="*/ 301592 w 440062"/>
                  <a:gd name="connsiteY2" fmla="*/ 528504 h 597910"/>
                  <a:gd name="connsiteX3" fmla="*/ 293917 w 440062"/>
                  <a:gd name="connsiteY3" fmla="*/ 540024 h 597910"/>
                  <a:gd name="connsiteX4" fmla="*/ 285090 w 440062"/>
                  <a:gd name="connsiteY4" fmla="*/ 573047 h 597910"/>
                  <a:gd name="connsiteX5" fmla="*/ 253621 w 440062"/>
                  <a:gd name="connsiteY5" fmla="*/ 597622 h 597910"/>
                  <a:gd name="connsiteX6" fmla="*/ 186076 w 440062"/>
                  <a:gd name="connsiteY6" fmla="*/ 597622 h 597910"/>
                  <a:gd name="connsiteX7" fmla="*/ 154606 w 440062"/>
                  <a:gd name="connsiteY7" fmla="*/ 573431 h 597910"/>
                  <a:gd name="connsiteX8" fmla="*/ 149617 w 440062"/>
                  <a:gd name="connsiteY8" fmla="*/ 553463 h 597910"/>
                  <a:gd name="connsiteX9" fmla="*/ 134650 w 440062"/>
                  <a:gd name="connsiteY9" fmla="*/ 523896 h 597910"/>
                  <a:gd name="connsiteX10" fmla="*/ 126207 w 440062"/>
                  <a:gd name="connsiteY10" fmla="*/ 502009 h 597910"/>
                  <a:gd name="connsiteX11" fmla="*/ 125823 w 440062"/>
                  <a:gd name="connsiteY11" fmla="*/ 472826 h 597910"/>
                  <a:gd name="connsiteX12" fmla="*/ 94354 w 440062"/>
                  <a:gd name="connsiteY12" fmla="*/ 435195 h 597910"/>
                  <a:gd name="connsiteX13" fmla="*/ 70560 w 440062"/>
                  <a:gd name="connsiteY13" fmla="*/ 382205 h 597910"/>
                  <a:gd name="connsiteX14" fmla="*/ 45998 w 440062"/>
                  <a:gd name="connsiteY14" fmla="*/ 351486 h 597910"/>
                  <a:gd name="connsiteX15" fmla="*/ 104716 w 440062"/>
                  <a:gd name="connsiteY15" fmla="*/ 32775 h 597910"/>
                  <a:gd name="connsiteX16" fmla="*/ 437449 w 440062"/>
                  <a:gd name="connsiteY16" fmla="*/ 187523 h 597910"/>
                  <a:gd name="connsiteX17" fmla="*/ 387942 w 440062"/>
                  <a:gd name="connsiteY17" fmla="*/ 359165 h 597910"/>
                  <a:gd name="connsiteX18" fmla="*/ 358391 w 440062"/>
                  <a:gd name="connsiteY18" fmla="*/ 398332 h 597910"/>
                  <a:gd name="connsiteX19" fmla="*/ 345727 w 440062"/>
                  <a:gd name="connsiteY19" fmla="*/ 434811 h 597910"/>
                  <a:gd name="connsiteX20" fmla="*/ 314257 w 440062"/>
                  <a:gd name="connsiteY20" fmla="*/ 472826 h 597910"/>
                  <a:gd name="connsiteX21" fmla="*/ 156909 w 440062"/>
                  <a:gd name="connsiteY21" fmla="*/ 314623 h 597910"/>
                  <a:gd name="connsiteX22" fmla="*/ 140407 w 440062"/>
                  <a:gd name="connsiteY22" fmla="*/ 314623 h 597910"/>
                  <a:gd name="connsiteX23" fmla="*/ 94354 w 440062"/>
                  <a:gd name="connsiteY23" fmla="*/ 267008 h 597910"/>
                  <a:gd name="connsiteX24" fmla="*/ 140791 w 440062"/>
                  <a:gd name="connsiteY24" fmla="*/ 220546 h 597910"/>
                  <a:gd name="connsiteX25" fmla="*/ 188379 w 440062"/>
                  <a:gd name="connsiteY25" fmla="*/ 266624 h 597910"/>
                  <a:gd name="connsiteX26" fmla="*/ 188379 w 440062"/>
                  <a:gd name="connsiteY26" fmla="*/ 282752 h 597910"/>
                  <a:gd name="connsiteX27" fmla="*/ 251318 w 440062"/>
                  <a:gd name="connsiteY27" fmla="*/ 282752 h 597910"/>
                  <a:gd name="connsiteX28" fmla="*/ 251318 w 440062"/>
                  <a:gd name="connsiteY28" fmla="*/ 267392 h 597910"/>
                  <a:gd name="connsiteX29" fmla="*/ 298522 w 440062"/>
                  <a:gd name="connsiteY29" fmla="*/ 220930 h 597910"/>
                  <a:gd name="connsiteX30" fmla="*/ 345343 w 440062"/>
                  <a:gd name="connsiteY30" fmla="*/ 267008 h 597910"/>
                  <a:gd name="connsiteX31" fmla="*/ 298522 w 440062"/>
                  <a:gd name="connsiteY31" fmla="*/ 315007 h 597910"/>
                  <a:gd name="connsiteX32" fmla="*/ 283171 w 440062"/>
                  <a:gd name="connsiteY32" fmla="*/ 315007 h 597910"/>
                  <a:gd name="connsiteX33" fmla="*/ 283171 w 440062"/>
                  <a:gd name="connsiteY33" fmla="*/ 440187 h 597910"/>
                  <a:gd name="connsiteX34" fmla="*/ 313873 w 440062"/>
                  <a:gd name="connsiteY34" fmla="*/ 440187 h 597910"/>
                  <a:gd name="connsiteX35" fmla="*/ 351483 w 440062"/>
                  <a:gd name="connsiteY35" fmla="*/ 354558 h 597910"/>
                  <a:gd name="connsiteX36" fmla="*/ 366834 w 440062"/>
                  <a:gd name="connsiteY36" fmla="*/ 335358 h 597910"/>
                  <a:gd name="connsiteX37" fmla="*/ 398304 w 440062"/>
                  <a:gd name="connsiteY37" fmla="*/ 280448 h 597910"/>
                  <a:gd name="connsiteX38" fmla="*/ 197589 w 440062"/>
                  <a:gd name="connsiteY38" fmla="*/ 33543 h 597910"/>
                  <a:gd name="connsiteX39" fmla="*/ 31415 w 440062"/>
                  <a:gd name="connsiteY39" fmla="*/ 224385 h 597910"/>
                  <a:gd name="connsiteX40" fmla="*/ 78235 w 440062"/>
                  <a:gd name="connsiteY40" fmla="*/ 342270 h 597910"/>
                  <a:gd name="connsiteX41" fmla="*/ 125823 w 440062"/>
                  <a:gd name="connsiteY41" fmla="*/ 439803 h 597910"/>
                  <a:gd name="connsiteX42" fmla="*/ 156909 w 440062"/>
                  <a:gd name="connsiteY42" fmla="*/ 439803 h 597910"/>
                  <a:gd name="connsiteX43" fmla="*/ 156909 w 440062"/>
                  <a:gd name="connsiteY43" fmla="*/ 314623 h 597910"/>
                  <a:gd name="connsiteX44" fmla="*/ 189146 w 440062"/>
                  <a:gd name="connsiteY44" fmla="*/ 315007 h 597910"/>
                  <a:gd name="connsiteX45" fmla="*/ 189146 w 440062"/>
                  <a:gd name="connsiteY45" fmla="*/ 439803 h 597910"/>
                  <a:gd name="connsiteX46" fmla="*/ 250550 w 440062"/>
                  <a:gd name="connsiteY46" fmla="*/ 439803 h 597910"/>
                  <a:gd name="connsiteX47" fmla="*/ 250550 w 440062"/>
                  <a:gd name="connsiteY47" fmla="*/ 315007 h 597910"/>
                  <a:gd name="connsiteX48" fmla="*/ 189146 w 440062"/>
                  <a:gd name="connsiteY48" fmla="*/ 315007 h 597910"/>
                  <a:gd name="connsiteX49" fmla="*/ 157677 w 440062"/>
                  <a:gd name="connsiteY49" fmla="*/ 472442 h 597910"/>
                  <a:gd name="connsiteX50" fmla="*/ 157677 w 440062"/>
                  <a:gd name="connsiteY50" fmla="*/ 502777 h 597910"/>
                  <a:gd name="connsiteX51" fmla="*/ 282020 w 440062"/>
                  <a:gd name="connsiteY51" fmla="*/ 502777 h 597910"/>
                  <a:gd name="connsiteX52" fmla="*/ 282020 w 440062"/>
                  <a:gd name="connsiteY52" fmla="*/ 472442 h 597910"/>
                  <a:gd name="connsiteX53" fmla="*/ 157677 w 440062"/>
                  <a:gd name="connsiteY53" fmla="*/ 472442 h 597910"/>
                  <a:gd name="connsiteX54" fmla="*/ 262447 w 440062"/>
                  <a:gd name="connsiteY54" fmla="*/ 535416 h 597910"/>
                  <a:gd name="connsiteX55" fmla="*/ 177633 w 440062"/>
                  <a:gd name="connsiteY55" fmla="*/ 535416 h 597910"/>
                  <a:gd name="connsiteX56" fmla="*/ 185308 w 440062"/>
                  <a:gd name="connsiteY56" fmla="*/ 565751 h 597910"/>
                  <a:gd name="connsiteX57" fmla="*/ 255155 w 440062"/>
                  <a:gd name="connsiteY57" fmla="*/ 565751 h 597910"/>
                  <a:gd name="connsiteX58" fmla="*/ 262447 w 440062"/>
                  <a:gd name="connsiteY58" fmla="*/ 535416 h 597910"/>
                  <a:gd name="connsiteX59" fmla="*/ 156909 w 440062"/>
                  <a:gd name="connsiteY59" fmla="*/ 283136 h 597910"/>
                  <a:gd name="connsiteX60" fmla="*/ 156909 w 440062"/>
                  <a:gd name="connsiteY60" fmla="*/ 265856 h 597910"/>
                  <a:gd name="connsiteX61" fmla="*/ 140791 w 440062"/>
                  <a:gd name="connsiteY61" fmla="*/ 252033 h 597910"/>
                  <a:gd name="connsiteX62" fmla="*/ 125823 w 440062"/>
                  <a:gd name="connsiteY62" fmla="*/ 267392 h 597910"/>
                  <a:gd name="connsiteX63" fmla="*/ 140023 w 440062"/>
                  <a:gd name="connsiteY63" fmla="*/ 283136 h 597910"/>
                  <a:gd name="connsiteX64" fmla="*/ 156909 w 440062"/>
                  <a:gd name="connsiteY64" fmla="*/ 283136 h 597910"/>
                  <a:gd name="connsiteX65" fmla="*/ 282787 w 440062"/>
                  <a:gd name="connsiteY65" fmla="*/ 283520 h 597910"/>
                  <a:gd name="connsiteX66" fmla="*/ 295068 w 440062"/>
                  <a:gd name="connsiteY66" fmla="*/ 283520 h 597910"/>
                  <a:gd name="connsiteX67" fmla="*/ 300057 w 440062"/>
                  <a:gd name="connsiteY67" fmla="*/ 283520 h 597910"/>
                  <a:gd name="connsiteX68" fmla="*/ 313873 w 440062"/>
                  <a:gd name="connsiteY68" fmla="*/ 267392 h 597910"/>
                  <a:gd name="connsiteX69" fmla="*/ 298522 w 440062"/>
                  <a:gd name="connsiteY69" fmla="*/ 252417 h 597910"/>
                  <a:gd name="connsiteX70" fmla="*/ 282787 w 440062"/>
                  <a:gd name="connsiteY70" fmla="*/ 266624 h 597910"/>
                  <a:gd name="connsiteX71" fmla="*/ 282787 w 440062"/>
                  <a:gd name="connsiteY71" fmla="*/ 283520 h 59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40062" h="597910">
                    <a:moveTo>
                      <a:pt x="314257" y="472826"/>
                    </a:moveTo>
                    <a:cubicBezTo>
                      <a:pt x="314257" y="483194"/>
                      <a:pt x="314257" y="493177"/>
                      <a:pt x="314257" y="502777"/>
                    </a:cubicBezTo>
                    <a:cubicBezTo>
                      <a:pt x="314257" y="513145"/>
                      <a:pt x="309652" y="521592"/>
                      <a:pt x="301592" y="528504"/>
                    </a:cubicBezTo>
                    <a:cubicBezTo>
                      <a:pt x="298138" y="531576"/>
                      <a:pt x="295452" y="535800"/>
                      <a:pt x="293917" y="540024"/>
                    </a:cubicBezTo>
                    <a:cubicBezTo>
                      <a:pt x="290463" y="550775"/>
                      <a:pt x="288160" y="562295"/>
                      <a:pt x="285090" y="573047"/>
                    </a:cubicBezTo>
                    <a:cubicBezTo>
                      <a:pt x="280485" y="588790"/>
                      <a:pt x="269739" y="597238"/>
                      <a:pt x="253621" y="597622"/>
                    </a:cubicBezTo>
                    <a:cubicBezTo>
                      <a:pt x="230978" y="598006"/>
                      <a:pt x="208335" y="598006"/>
                      <a:pt x="186076" y="597622"/>
                    </a:cubicBezTo>
                    <a:cubicBezTo>
                      <a:pt x="169957" y="597622"/>
                      <a:pt x="159212" y="588790"/>
                      <a:pt x="154606" y="573431"/>
                    </a:cubicBezTo>
                    <a:cubicBezTo>
                      <a:pt x="152688" y="566903"/>
                      <a:pt x="151153" y="560375"/>
                      <a:pt x="149617" y="553463"/>
                    </a:cubicBezTo>
                    <a:cubicBezTo>
                      <a:pt x="146931" y="542328"/>
                      <a:pt x="144628" y="531960"/>
                      <a:pt x="134650" y="523896"/>
                    </a:cubicBezTo>
                    <a:cubicBezTo>
                      <a:pt x="129277" y="519673"/>
                      <a:pt x="127358" y="509689"/>
                      <a:pt x="126207" y="502009"/>
                    </a:cubicBezTo>
                    <a:cubicBezTo>
                      <a:pt x="124672" y="492409"/>
                      <a:pt x="125823" y="482426"/>
                      <a:pt x="125823" y="472826"/>
                    </a:cubicBezTo>
                    <a:cubicBezTo>
                      <a:pt x="102413" y="467066"/>
                      <a:pt x="95889" y="459002"/>
                      <a:pt x="94354" y="435195"/>
                    </a:cubicBezTo>
                    <a:cubicBezTo>
                      <a:pt x="93202" y="414460"/>
                      <a:pt x="82841" y="397948"/>
                      <a:pt x="70560" y="382205"/>
                    </a:cubicBezTo>
                    <a:cubicBezTo>
                      <a:pt x="62500" y="371837"/>
                      <a:pt x="54441" y="361469"/>
                      <a:pt x="45998" y="351486"/>
                    </a:cubicBezTo>
                    <a:cubicBezTo>
                      <a:pt x="-33059" y="256257"/>
                      <a:pt x="-8114" y="102661"/>
                      <a:pt x="104716" y="32775"/>
                    </a:cubicBezTo>
                    <a:cubicBezTo>
                      <a:pt x="238653" y="-49782"/>
                      <a:pt x="414806" y="31623"/>
                      <a:pt x="437449" y="187523"/>
                    </a:cubicBezTo>
                    <a:cubicBezTo>
                      <a:pt x="447043" y="252033"/>
                      <a:pt x="430157" y="309247"/>
                      <a:pt x="387942" y="359165"/>
                    </a:cubicBezTo>
                    <a:cubicBezTo>
                      <a:pt x="377580" y="371453"/>
                      <a:pt x="366834" y="384125"/>
                      <a:pt x="358391" y="398332"/>
                    </a:cubicBezTo>
                    <a:cubicBezTo>
                      <a:pt x="351867" y="409468"/>
                      <a:pt x="347645" y="422139"/>
                      <a:pt x="345727" y="434811"/>
                    </a:cubicBezTo>
                    <a:cubicBezTo>
                      <a:pt x="343040" y="459002"/>
                      <a:pt x="337667" y="467066"/>
                      <a:pt x="314257" y="472826"/>
                    </a:cubicBezTo>
                    <a:close/>
                    <a:moveTo>
                      <a:pt x="156909" y="314623"/>
                    </a:moveTo>
                    <a:cubicBezTo>
                      <a:pt x="150769" y="314623"/>
                      <a:pt x="145780" y="314623"/>
                      <a:pt x="140407" y="314623"/>
                    </a:cubicBezTo>
                    <a:cubicBezTo>
                      <a:pt x="114310" y="313855"/>
                      <a:pt x="93970" y="292736"/>
                      <a:pt x="94354" y="267008"/>
                    </a:cubicBezTo>
                    <a:cubicBezTo>
                      <a:pt x="94738" y="241665"/>
                      <a:pt x="115462" y="220930"/>
                      <a:pt x="140791" y="220546"/>
                    </a:cubicBezTo>
                    <a:cubicBezTo>
                      <a:pt x="166504" y="220162"/>
                      <a:pt x="187611" y="240513"/>
                      <a:pt x="188379" y="266624"/>
                    </a:cubicBezTo>
                    <a:cubicBezTo>
                      <a:pt x="188762" y="272000"/>
                      <a:pt x="188379" y="277376"/>
                      <a:pt x="188379" y="282752"/>
                    </a:cubicBezTo>
                    <a:cubicBezTo>
                      <a:pt x="210254" y="282752"/>
                      <a:pt x="230594" y="282752"/>
                      <a:pt x="251318" y="282752"/>
                    </a:cubicBezTo>
                    <a:cubicBezTo>
                      <a:pt x="251318" y="276992"/>
                      <a:pt x="251318" y="272000"/>
                      <a:pt x="251318" y="267392"/>
                    </a:cubicBezTo>
                    <a:cubicBezTo>
                      <a:pt x="252085" y="241281"/>
                      <a:pt x="272809" y="220930"/>
                      <a:pt x="298522" y="220930"/>
                    </a:cubicBezTo>
                    <a:cubicBezTo>
                      <a:pt x="323851" y="220930"/>
                      <a:pt x="344959" y="241665"/>
                      <a:pt x="345343" y="267008"/>
                    </a:cubicBezTo>
                    <a:cubicBezTo>
                      <a:pt x="345727" y="293119"/>
                      <a:pt x="325386" y="314239"/>
                      <a:pt x="298522" y="315007"/>
                    </a:cubicBezTo>
                    <a:cubicBezTo>
                      <a:pt x="293533" y="315007"/>
                      <a:pt x="288160" y="315007"/>
                      <a:pt x="283171" y="315007"/>
                    </a:cubicBezTo>
                    <a:cubicBezTo>
                      <a:pt x="283171" y="357629"/>
                      <a:pt x="283171" y="399100"/>
                      <a:pt x="283171" y="440187"/>
                    </a:cubicBezTo>
                    <a:cubicBezTo>
                      <a:pt x="293533" y="440187"/>
                      <a:pt x="303127" y="440187"/>
                      <a:pt x="313873" y="440187"/>
                    </a:cubicBezTo>
                    <a:cubicBezTo>
                      <a:pt x="313873" y="406012"/>
                      <a:pt x="330759" y="379517"/>
                      <a:pt x="351483" y="354558"/>
                    </a:cubicBezTo>
                    <a:cubicBezTo>
                      <a:pt x="356856" y="348414"/>
                      <a:pt x="362612" y="342270"/>
                      <a:pt x="366834" y="335358"/>
                    </a:cubicBezTo>
                    <a:cubicBezTo>
                      <a:pt x="377963" y="317311"/>
                      <a:pt x="391780" y="300031"/>
                      <a:pt x="398304" y="280448"/>
                    </a:cubicBezTo>
                    <a:cubicBezTo>
                      <a:pt x="442822" y="148356"/>
                      <a:pt x="334213" y="17032"/>
                      <a:pt x="197589" y="33543"/>
                    </a:cubicBezTo>
                    <a:cubicBezTo>
                      <a:pt x="100494" y="45447"/>
                      <a:pt x="30647" y="126468"/>
                      <a:pt x="31415" y="224385"/>
                    </a:cubicBezTo>
                    <a:cubicBezTo>
                      <a:pt x="31798" y="269696"/>
                      <a:pt x="49068" y="308095"/>
                      <a:pt x="78235" y="342270"/>
                    </a:cubicBezTo>
                    <a:cubicBezTo>
                      <a:pt x="102413" y="370685"/>
                      <a:pt x="126207" y="399868"/>
                      <a:pt x="125823" y="439803"/>
                    </a:cubicBezTo>
                    <a:cubicBezTo>
                      <a:pt x="136953" y="439803"/>
                      <a:pt x="146931" y="439803"/>
                      <a:pt x="156909" y="439803"/>
                    </a:cubicBezTo>
                    <a:cubicBezTo>
                      <a:pt x="156909" y="397948"/>
                      <a:pt x="156909" y="357246"/>
                      <a:pt x="156909" y="314623"/>
                    </a:cubicBezTo>
                    <a:close/>
                    <a:moveTo>
                      <a:pt x="189146" y="315007"/>
                    </a:moveTo>
                    <a:cubicBezTo>
                      <a:pt x="189146" y="357246"/>
                      <a:pt x="189146" y="398332"/>
                      <a:pt x="189146" y="439803"/>
                    </a:cubicBezTo>
                    <a:cubicBezTo>
                      <a:pt x="210254" y="439803"/>
                      <a:pt x="230594" y="439803"/>
                      <a:pt x="250550" y="439803"/>
                    </a:cubicBezTo>
                    <a:cubicBezTo>
                      <a:pt x="250550" y="397948"/>
                      <a:pt x="250550" y="356478"/>
                      <a:pt x="250550" y="315007"/>
                    </a:cubicBezTo>
                    <a:cubicBezTo>
                      <a:pt x="229826" y="315007"/>
                      <a:pt x="209870" y="315007"/>
                      <a:pt x="189146" y="315007"/>
                    </a:cubicBezTo>
                    <a:close/>
                    <a:moveTo>
                      <a:pt x="157677" y="472442"/>
                    </a:moveTo>
                    <a:cubicBezTo>
                      <a:pt x="157677" y="483194"/>
                      <a:pt x="157677" y="492793"/>
                      <a:pt x="157677" y="502777"/>
                    </a:cubicBezTo>
                    <a:cubicBezTo>
                      <a:pt x="199508" y="502777"/>
                      <a:pt x="240956" y="502777"/>
                      <a:pt x="282020" y="502777"/>
                    </a:cubicBezTo>
                    <a:cubicBezTo>
                      <a:pt x="282020" y="492409"/>
                      <a:pt x="282020" y="482426"/>
                      <a:pt x="282020" y="472442"/>
                    </a:cubicBezTo>
                    <a:cubicBezTo>
                      <a:pt x="240188" y="472442"/>
                      <a:pt x="199124" y="472442"/>
                      <a:pt x="157677" y="472442"/>
                    </a:cubicBezTo>
                    <a:close/>
                    <a:moveTo>
                      <a:pt x="262447" y="535416"/>
                    </a:moveTo>
                    <a:cubicBezTo>
                      <a:pt x="233280" y="535416"/>
                      <a:pt x="206032" y="535416"/>
                      <a:pt x="177633" y="535416"/>
                    </a:cubicBezTo>
                    <a:cubicBezTo>
                      <a:pt x="180319" y="546168"/>
                      <a:pt x="183006" y="556151"/>
                      <a:pt x="185308" y="565751"/>
                    </a:cubicBezTo>
                    <a:cubicBezTo>
                      <a:pt x="209486" y="565751"/>
                      <a:pt x="232129" y="565751"/>
                      <a:pt x="255155" y="565751"/>
                    </a:cubicBezTo>
                    <a:cubicBezTo>
                      <a:pt x="257458" y="555383"/>
                      <a:pt x="259761" y="545784"/>
                      <a:pt x="262447" y="535416"/>
                    </a:cubicBezTo>
                    <a:close/>
                    <a:moveTo>
                      <a:pt x="156909" y="283136"/>
                    </a:moveTo>
                    <a:cubicBezTo>
                      <a:pt x="156909" y="276608"/>
                      <a:pt x="157293" y="271232"/>
                      <a:pt x="156909" y="265856"/>
                    </a:cubicBezTo>
                    <a:cubicBezTo>
                      <a:pt x="156142" y="257409"/>
                      <a:pt x="148850" y="251649"/>
                      <a:pt x="140791" y="252033"/>
                    </a:cubicBezTo>
                    <a:cubicBezTo>
                      <a:pt x="132731" y="252417"/>
                      <a:pt x="126207" y="259329"/>
                      <a:pt x="125823" y="267392"/>
                    </a:cubicBezTo>
                    <a:cubicBezTo>
                      <a:pt x="125823" y="275456"/>
                      <a:pt x="131580" y="282368"/>
                      <a:pt x="140023" y="283136"/>
                    </a:cubicBezTo>
                    <a:cubicBezTo>
                      <a:pt x="145396" y="283520"/>
                      <a:pt x="150385" y="283136"/>
                      <a:pt x="156909" y="283136"/>
                    </a:cubicBezTo>
                    <a:close/>
                    <a:moveTo>
                      <a:pt x="282787" y="283520"/>
                    </a:moveTo>
                    <a:cubicBezTo>
                      <a:pt x="287393" y="283520"/>
                      <a:pt x="291230" y="283520"/>
                      <a:pt x="295068" y="283520"/>
                    </a:cubicBezTo>
                    <a:cubicBezTo>
                      <a:pt x="296603" y="283520"/>
                      <a:pt x="298522" y="283520"/>
                      <a:pt x="300057" y="283520"/>
                    </a:cubicBezTo>
                    <a:cubicBezTo>
                      <a:pt x="308500" y="282368"/>
                      <a:pt x="314257" y="275456"/>
                      <a:pt x="313873" y="267392"/>
                    </a:cubicBezTo>
                    <a:cubicBezTo>
                      <a:pt x="313489" y="259329"/>
                      <a:pt x="306581" y="252801"/>
                      <a:pt x="298522" y="252417"/>
                    </a:cubicBezTo>
                    <a:cubicBezTo>
                      <a:pt x="290463" y="252417"/>
                      <a:pt x="283555" y="258177"/>
                      <a:pt x="282787" y="266624"/>
                    </a:cubicBezTo>
                    <a:cubicBezTo>
                      <a:pt x="282404" y="271232"/>
                      <a:pt x="282787" y="276608"/>
                      <a:pt x="282787" y="283520"/>
                    </a:cubicBezTo>
                    <a:close/>
                  </a:path>
                </a:pathLst>
              </a:custGeom>
              <a:grpFill/>
              <a:ln w="3834" cap="flat">
                <a:noFill/>
                <a:prstDash val="solid"/>
                <a:miter/>
              </a:ln>
            </p:spPr>
            <p:txBody>
              <a:bodyPr rtlCol="0" anchor="ctr"/>
              <a:lstStyle/>
              <a:p>
                <a:endParaRPr lang="en-US"/>
              </a:p>
            </p:txBody>
          </p:sp>
          <p:sp>
            <p:nvSpPr>
              <p:cNvPr id="8" name="Freeform 272">
                <a:extLst>
                  <a:ext uri="{FF2B5EF4-FFF2-40B4-BE49-F238E27FC236}">
                    <a16:creationId xmlns:a16="http://schemas.microsoft.com/office/drawing/2014/main" id="{0E63DA74-63B8-2C49-46AA-B6CCE64AA387}"/>
                  </a:ext>
                </a:extLst>
              </p:cNvPr>
              <p:cNvSpPr/>
              <p:nvPr/>
            </p:nvSpPr>
            <p:spPr>
              <a:xfrm>
                <a:off x="2962679" y="5486092"/>
                <a:ext cx="314009" cy="329945"/>
              </a:xfrm>
              <a:custGeom>
                <a:avLst/>
                <a:gdLst>
                  <a:gd name="connsiteX0" fmla="*/ 98310 w 314009"/>
                  <a:gd name="connsiteY0" fmla="*/ 168286 h 329945"/>
                  <a:gd name="connsiteX1" fmla="*/ 90635 w 314009"/>
                  <a:gd name="connsiteY1" fmla="*/ 27362 h 329945"/>
                  <a:gd name="connsiteX2" fmla="*/ 222653 w 314009"/>
                  <a:gd name="connsiteY2" fmla="*/ 26210 h 329945"/>
                  <a:gd name="connsiteX3" fmla="*/ 218048 w 314009"/>
                  <a:gd name="connsiteY3" fmla="*/ 167134 h 329945"/>
                  <a:gd name="connsiteX4" fmla="*/ 262182 w 314009"/>
                  <a:gd name="connsiteY4" fmla="*/ 198237 h 329945"/>
                  <a:gd name="connsiteX5" fmla="*/ 313992 w 314009"/>
                  <a:gd name="connsiteY5" fmla="*/ 310746 h 329945"/>
                  <a:gd name="connsiteX6" fmla="*/ 295187 w 314009"/>
                  <a:gd name="connsiteY6" fmla="*/ 329945 h 329945"/>
                  <a:gd name="connsiteX7" fmla="*/ 19253 w 314009"/>
                  <a:gd name="connsiteY7" fmla="*/ 329945 h 329945"/>
                  <a:gd name="connsiteX8" fmla="*/ 64 w 314009"/>
                  <a:gd name="connsiteY8" fmla="*/ 309978 h 329945"/>
                  <a:gd name="connsiteX9" fmla="*/ 89483 w 314009"/>
                  <a:gd name="connsiteY9" fmla="*/ 172510 h 329945"/>
                  <a:gd name="connsiteX10" fmla="*/ 98310 w 314009"/>
                  <a:gd name="connsiteY10" fmla="*/ 168286 h 329945"/>
                  <a:gd name="connsiteX11" fmla="*/ 280220 w 314009"/>
                  <a:gd name="connsiteY11" fmla="*/ 297690 h 329945"/>
                  <a:gd name="connsiteX12" fmla="*/ 151655 w 314009"/>
                  <a:gd name="connsiteY12" fmla="*/ 188253 h 329945"/>
                  <a:gd name="connsiteX13" fmla="*/ 33836 w 314009"/>
                  <a:gd name="connsiteY13" fmla="*/ 297306 h 329945"/>
                  <a:gd name="connsiteX14" fmla="*/ 219583 w 314009"/>
                  <a:gd name="connsiteY14" fmla="*/ 297306 h 329945"/>
                  <a:gd name="connsiteX15" fmla="*/ 202313 w 314009"/>
                  <a:gd name="connsiteY15" fmla="*/ 270427 h 329945"/>
                  <a:gd name="connsiteX16" fmla="*/ 201929 w 314009"/>
                  <a:gd name="connsiteY16" fmla="*/ 246236 h 329945"/>
                  <a:gd name="connsiteX17" fmla="*/ 226107 w 314009"/>
                  <a:gd name="connsiteY17" fmla="*/ 250076 h 329945"/>
                  <a:gd name="connsiteX18" fmla="*/ 249901 w 314009"/>
                  <a:gd name="connsiteY18" fmla="*/ 297690 h 329945"/>
                  <a:gd name="connsiteX19" fmla="*/ 280220 w 314009"/>
                  <a:gd name="connsiteY19" fmla="*/ 297690 h 329945"/>
                  <a:gd name="connsiteX20" fmla="*/ 219967 w 314009"/>
                  <a:gd name="connsiteY20" fmla="*/ 93792 h 329945"/>
                  <a:gd name="connsiteX21" fmla="*/ 156644 w 314009"/>
                  <a:gd name="connsiteY21" fmla="*/ 31202 h 329945"/>
                  <a:gd name="connsiteX22" fmla="*/ 94089 w 314009"/>
                  <a:gd name="connsiteY22" fmla="*/ 93792 h 329945"/>
                  <a:gd name="connsiteX23" fmla="*/ 156644 w 314009"/>
                  <a:gd name="connsiteY23" fmla="*/ 157150 h 329945"/>
                  <a:gd name="connsiteX24" fmla="*/ 219967 w 314009"/>
                  <a:gd name="connsiteY24" fmla="*/ 93792 h 32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009" h="329945">
                    <a:moveTo>
                      <a:pt x="98310" y="168286"/>
                    </a:moveTo>
                    <a:cubicBezTo>
                      <a:pt x="47268" y="122207"/>
                      <a:pt x="57630" y="59617"/>
                      <a:pt x="90635" y="27362"/>
                    </a:cubicBezTo>
                    <a:cubicBezTo>
                      <a:pt x="127093" y="-8733"/>
                      <a:pt x="185427" y="-9117"/>
                      <a:pt x="222653" y="26210"/>
                    </a:cubicBezTo>
                    <a:cubicBezTo>
                      <a:pt x="257193" y="59233"/>
                      <a:pt x="266787" y="122975"/>
                      <a:pt x="218048" y="167134"/>
                    </a:cubicBezTo>
                    <a:cubicBezTo>
                      <a:pt x="232631" y="177118"/>
                      <a:pt x="248750" y="186333"/>
                      <a:pt x="262182" y="198237"/>
                    </a:cubicBezTo>
                    <a:cubicBezTo>
                      <a:pt x="295954" y="227804"/>
                      <a:pt x="312457" y="265819"/>
                      <a:pt x="313992" y="310746"/>
                    </a:cubicBezTo>
                    <a:cubicBezTo>
                      <a:pt x="314376" y="324185"/>
                      <a:pt x="308619" y="329945"/>
                      <a:pt x="295187" y="329945"/>
                    </a:cubicBezTo>
                    <a:cubicBezTo>
                      <a:pt x="203081" y="329945"/>
                      <a:pt x="111359" y="329945"/>
                      <a:pt x="19253" y="329945"/>
                    </a:cubicBezTo>
                    <a:cubicBezTo>
                      <a:pt x="5437" y="329945"/>
                      <a:pt x="-704" y="324185"/>
                      <a:pt x="64" y="309978"/>
                    </a:cubicBezTo>
                    <a:cubicBezTo>
                      <a:pt x="3518" y="247003"/>
                      <a:pt x="33452" y="201309"/>
                      <a:pt x="89483" y="172510"/>
                    </a:cubicBezTo>
                    <a:cubicBezTo>
                      <a:pt x="92170" y="170974"/>
                      <a:pt x="94856" y="169822"/>
                      <a:pt x="98310" y="168286"/>
                    </a:cubicBezTo>
                    <a:close/>
                    <a:moveTo>
                      <a:pt x="280220" y="297690"/>
                    </a:moveTo>
                    <a:cubicBezTo>
                      <a:pt x="279068" y="253147"/>
                      <a:pt x="233399" y="185565"/>
                      <a:pt x="151655" y="188253"/>
                    </a:cubicBezTo>
                    <a:cubicBezTo>
                      <a:pt x="91402" y="190173"/>
                      <a:pt x="29231" y="247388"/>
                      <a:pt x="33836" y="297306"/>
                    </a:cubicBezTo>
                    <a:cubicBezTo>
                      <a:pt x="94856" y="297306"/>
                      <a:pt x="155493" y="297306"/>
                      <a:pt x="219583" y="297306"/>
                    </a:cubicBezTo>
                    <a:cubicBezTo>
                      <a:pt x="213059" y="286938"/>
                      <a:pt x="208070" y="278491"/>
                      <a:pt x="202313" y="270427"/>
                    </a:cubicBezTo>
                    <a:cubicBezTo>
                      <a:pt x="195405" y="260827"/>
                      <a:pt x="194638" y="252379"/>
                      <a:pt x="201929" y="246236"/>
                    </a:cubicBezTo>
                    <a:cubicBezTo>
                      <a:pt x="208838" y="240092"/>
                      <a:pt x="218048" y="241628"/>
                      <a:pt x="226107" y="250076"/>
                    </a:cubicBezTo>
                    <a:cubicBezTo>
                      <a:pt x="238772" y="263515"/>
                      <a:pt x="246064" y="279642"/>
                      <a:pt x="249901" y="297690"/>
                    </a:cubicBezTo>
                    <a:cubicBezTo>
                      <a:pt x="260263" y="297690"/>
                      <a:pt x="270242" y="297690"/>
                      <a:pt x="280220" y="297690"/>
                    </a:cubicBezTo>
                    <a:close/>
                    <a:moveTo>
                      <a:pt x="219967" y="93792"/>
                    </a:moveTo>
                    <a:cubicBezTo>
                      <a:pt x="219967" y="59233"/>
                      <a:pt x="191568" y="30818"/>
                      <a:pt x="156644" y="31202"/>
                    </a:cubicBezTo>
                    <a:cubicBezTo>
                      <a:pt x="122488" y="31202"/>
                      <a:pt x="94472" y="59617"/>
                      <a:pt x="94089" y="93792"/>
                    </a:cubicBezTo>
                    <a:cubicBezTo>
                      <a:pt x="94089" y="128735"/>
                      <a:pt x="122104" y="156766"/>
                      <a:pt x="156644" y="157150"/>
                    </a:cubicBezTo>
                    <a:cubicBezTo>
                      <a:pt x="191568" y="157150"/>
                      <a:pt x="219967" y="128735"/>
                      <a:pt x="219967" y="93792"/>
                    </a:cubicBezTo>
                    <a:close/>
                  </a:path>
                </a:pathLst>
              </a:custGeom>
              <a:grpFill/>
              <a:ln w="3834" cap="flat">
                <a:noFill/>
                <a:prstDash val="solid"/>
                <a:miter/>
              </a:ln>
            </p:spPr>
            <p:txBody>
              <a:bodyPr rtlCol="0" anchor="ctr"/>
              <a:lstStyle/>
              <a:p>
                <a:endParaRPr lang="en-US"/>
              </a:p>
            </p:txBody>
          </p:sp>
          <p:sp>
            <p:nvSpPr>
              <p:cNvPr id="9" name="Freeform 273">
                <a:extLst>
                  <a:ext uri="{FF2B5EF4-FFF2-40B4-BE49-F238E27FC236}">
                    <a16:creationId xmlns:a16="http://schemas.microsoft.com/office/drawing/2014/main" id="{59FD980B-9773-6ECC-9006-2F8D9B8B8402}"/>
                  </a:ext>
                </a:extLst>
              </p:cNvPr>
              <p:cNvSpPr/>
              <p:nvPr/>
            </p:nvSpPr>
            <p:spPr>
              <a:xfrm>
                <a:off x="2522873" y="5485743"/>
                <a:ext cx="314009" cy="329909"/>
              </a:xfrm>
              <a:custGeom>
                <a:avLst/>
                <a:gdLst>
                  <a:gd name="connsiteX0" fmla="*/ 98310 w 314009"/>
                  <a:gd name="connsiteY0" fmla="*/ 168634 h 329909"/>
                  <a:gd name="connsiteX1" fmla="*/ 89867 w 314009"/>
                  <a:gd name="connsiteY1" fmla="*/ 28095 h 329909"/>
                  <a:gd name="connsiteX2" fmla="*/ 221886 w 314009"/>
                  <a:gd name="connsiteY2" fmla="*/ 25791 h 329909"/>
                  <a:gd name="connsiteX3" fmla="*/ 216129 w 314009"/>
                  <a:gd name="connsiteY3" fmla="*/ 168634 h 329909"/>
                  <a:gd name="connsiteX4" fmla="*/ 277149 w 314009"/>
                  <a:gd name="connsiteY4" fmla="*/ 213561 h 329909"/>
                  <a:gd name="connsiteX5" fmla="*/ 313992 w 314009"/>
                  <a:gd name="connsiteY5" fmla="*/ 310710 h 329909"/>
                  <a:gd name="connsiteX6" fmla="*/ 295187 w 314009"/>
                  <a:gd name="connsiteY6" fmla="*/ 329909 h 329909"/>
                  <a:gd name="connsiteX7" fmla="*/ 19253 w 314009"/>
                  <a:gd name="connsiteY7" fmla="*/ 329909 h 329909"/>
                  <a:gd name="connsiteX8" fmla="*/ 64 w 314009"/>
                  <a:gd name="connsiteY8" fmla="*/ 309942 h 329909"/>
                  <a:gd name="connsiteX9" fmla="*/ 89867 w 314009"/>
                  <a:gd name="connsiteY9" fmla="*/ 172474 h 329909"/>
                  <a:gd name="connsiteX10" fmla="*/ 98310 w 314009"/>
                  <a:gd name="connsiteY10" fmla="*/ 168634 h 329909"/>
                  <a:gd name="connsiteX11" fmla="*/ 94472 w 314009"/>
                  <a:gd name="connsiteY11" fmla="*/ 298038 h 329909"/>
                  <a:gd name="connsiteX12" fmla="*/ 280987 w 314009"/>
                  <a:gd name="connsiteY12" fmla="*/ 298038 h 329909"/>
                  <a:gd name="connsiteX13" fmla="*/ 155876 w 314009"/>
                  <a:gd name="connsiteY13" fmla="*/ 188602 h 329909"/>
                  <a:gd name="connsiteX14" fmla="*/ 34220 w 314009"/>
                  <a:gd name="connsiteY14" fmla="*/ 298038 h 329909"/>
                  <a:gd name="connsiteX15" fmla="*/ 64154 w 314009"/>
                  <a:gd name="connsiteY15" fmla="*/ 298038 h 329909"/>
                  <a:gd name="connsiteX16" fmla="*/ 88716 w 314009"/>
                  <a:gd name="connsiteY16" fmla="*/ 250424 h 329909"/>
                  <a:gd name="connsiteX17" fmla="*/ 98310 w 314009"/>
                  <a:gd name="connsiteY17" fmla="*/ 243896 h 329909"/>
                  <a:gd name="connsiteX18" fmla="*/ 115580 w 314009"/>
                  <a:gd name="connsiteY18" fmla="*/ 250040 h 329909"/>
                  <a:gd name="connsiteX19" fmla="*/ 114429 w 314009"/>
                  <a:gd name="connsiteY19" fmla="*/ 269239 h 329909"/>
                  <a:gd name="connsiteX20" fmla="*/ 94472 w 314009"/>
                  <a:gd name="connsiteY20" fmla="*/ 298038 h 329909"/>
                  <a:gd name="connsiteX21" fmla="*/ 157412 w 314009"/>
                  <a:gd name="connsiteY21" fmla="*/ 31551 h 329909"/>
                  <a:gd name="connsiteX22" fmla="*/ 94472 w 314009"/>
                  <a:gd name="connsiteY22" fmla="*/ 94141 h 329909"/>
                  <a:gd name="connsiteX23" fmla="*/ 157412 w 314009"/>
                  <a:gd name="connsiteY23" fmla="*/ 157115 h 329909"/>
                  <a:gd name="connsiteX24" fmla="*/ 219967 w 314009"/>
                  <a:gd name="connsiteY24" fmla="*/ 94909 h 329909"/>
                  <a:gd name="connsiteX25" fmla="*/ 157412 w 314009"/>
                  <a:gd name="connsiteY25" fmla="*/ 31551 h 32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4009" h="329909">
                    <a:moveTo>
                      <a:pt x="98310" y="168634"/>
                    </a:moveTo>
                    <a:cubicBezTo>
                      <a:pt x="48036" y="123708"/>
                      <a:pt x="57246" y="61118"/>
                      <a:pt x="89867" y="28095"/>
                    </a:cubicBezTo>
                    <a:cubicBezTo>
                      <a:pt x="126326" y="-8384"/>
                      <a:pt x="184276" y="-9536"/>
                      <a:pt x="221886" y="25791"/>
                    </a:cubicBezTo>
                    <a:cubicBezTo>
                      <a:pt x="256426" y="58046"/>
                      <a:pt x="267171" y="122940"/>
                      <a:pt x="216129" y="168634"/>
                    </a:cubicBezTo>
                    <a:cubicBezTo>
                      <a:pt x="239923" y="179002"/>
                      <a:pt x="260647" y="193594"/>
                      <a:pt x="277149" y="213561"/>
                    </a:cubicBezTo>
                    <a:cubicBezTo>
                      <a:pt x="300560" y="241592"/>
                      <a:pt x="312840" y="274231"/>
                      <a:pt x="313992" y="310710"/>
                    </a:cubicBezTo>
                    <a:cubicBezTo>
                      <a:pt x="314375" y="323766"/>
                      <a:pt x="308619" y="329909"/>
                      <a:pt x="295187" y="329909"/>
                    </a:cubicBezTo>
                    <a:cubicBezTo>
                      <a:pt x="203081" y="329909"/>
                      <a:pt x="111359" y="329909"/>
                      <a:pt x="19253" y="329909"/>
                    </a:cubicBezTo>
                    <a:cubicBezTo>
                      <a:pt x="5437" y="329909"/>
                      <a:pt x="-704" y="324150"/>
                      <a:pt x="64" y="309942"/>
                    </a:cubicBezTo>
                    <a:cubicBezTo>
                      <a:pt x="3902" y="246968"/>
                      <a:pt x="33836" y="201273"/>
                      <a:pt x="89867" y="172474"/>
                    </a:cubicBezTo>
                    <a:cubicBezTo>
                      <a:pt x="92554" y="171322"/>
                      <a:pt x="95240" y="170170"/>
                      <a:pt x="98310" y="168634"/>
                    </a:cubicBezTo>
                    <a:close/>
                    <a:moveTo>
                      <a:pt x="94472" y="298038"/>
                    </a:moveTo>
                    <a:cubicBezTo>
                      <a:pt x="159330" y="298038"/>
                      <a:pt x="219967" y="298038"/>
                      <a:pt x="280987" y="298038"/>
                    </a:cubicBezTo>
                    <a:cubicBezTo>
                      <a:pt x="279068" y="251960"/>
                      <a:pt x="233783" y="187834"/>
                      <a:pt x="155876" y="188602"/>
                    </a:cubicBezTo>
                    <a:cubicBezTo>
                      <a:pt x="78738" y="189370"/>
                      <a:pt x="35371" y="254264"/>
                      <a:pt x="34220" y="298038"/>
                    </a:cubicBezTo>
                    <a:cubicBezTo>
                      <a:pt x="44198" y="298038"/>
                      <a:pt x="54176" y="298038"/>
                      <a:pt x="64154" y="298038"/>
                    </a:cubicBezTo>
                    <a:cubicBezTo>
                      <a:pt x="71446" y="273079"/>
                      <a:pt x="77203" y="261944"/>
                      <a:pt x="88716" y="250424"/>
                    </a:cubicBezTo>
                    <a:cubicBezTo>
                      <a:pt x="91402" y="247736"/>
                      <a:pt x="94472" y="245048"/>
                      <a:pt x="98310" y="243896"/>
                    </a:cubicBezTo>
                    <a:cubicBezTo>
                      <a:pt x="105218" y="241976"/>
                      <a:pt x="111359" y="243896"/>
                      <a:pt x="115580" y="250040"/>
                    </a:cubicBezTo>
                    <a:cubicBezTo>
                      <a:pt x="119801" y="256568"/>
                      <a:pt x="119034" y="262711"/>
                      <a:pt x="114429" y="269239"/>
                    </a:cubicBezTo>
                    <a:cubicBezTo>
                      <a:pt x="107137" y="278071"/>
                      <a:pt x="101764" y="287287"/>
                      <a:pt x="94472" y="298038"/>
                    </a:cubicBezTo>
                    <a:close/>
                    <a:moveTo>
                      <a:pt x="157412" y="31551"/>
                    </a:moveTo>
                    <a:cubicBezTo>
                      <a:pt x="122488" y="31551"/>
                      <a:pt x="94089" y="59582"/>
                      <a:pt x="94472" y="94141"/>
                    </a:cubicBezTo>
                    <a:cubicBezTo>
                      <a:pt x="94472" y="129084"/>
                      <a:pt x="122872" y="157115"/>
                      <a:pt x="157412" y="157115"/>
                    </a:cubicBezTo>
                    <a:cubicBezTo>
                      <a:pt x="191567" y="157115"/>
                      <a:pt x="219967" y="129084"/>
                      <a:pt x="219967" y="94909"/>
                    </a:cubicBezTo>
                    <a:cubicBezTo>
                      <a:pt x="220351" y="59966"/>
                      <a:pt x="192335" y="31551"/>
                      <a:pt x="157412" y="31551"/>
                    </a:cubicBezTo>
                    <a:close/>
                  </a:path>
                </a:pathLst>
              </a:custGeom>
              <a:grpFill/>
              <a:ln w="3834" cap="flat">
                <a:noFill/>
                <a:prstDash val="solid"/>
                <a:miter/>
              </a:ln>
            </p:spPr>
            <p:txBody>
              <a:bodyPr rtlCol="0" anchor="ctr"/>
              <a:lstStyle/>
              <a:p>
                <a:endParaRPr lang="en-US"/>
              </a:p>
            </p:txBody>
          </p:sp>
          <p:sp>
            <p:nvSpPr>
              <p:cNvPr id="10" name="Freeform 274">
                <a:extLst>
                  <a:ext uri="{FF2B5EF4-FFF2-40B4-BE49-F238E27FC236}">
                    <a16:creationId xmlns:a16="http://schemas.microsoft.com/office/drawing/2014/main" id="{501F2431-F64C-5D08-BDA1-12280C0B31B9}"/>
                  </a:ext>
                </a:extLst>
              </p:cNvPr>
              <p:cNvSpPr/>
              <p:nvPr/>
            </p:nvSpPr>
            <p:spPr>
              <a:xfrm>
                <a:off x="2444246" y="5234238"/>
                <a:ext cx="219597" cy="220082"/>
              </a:xfrm>
              <a:custGeom>
                <a:avLst/>
                <a:gdLst>
                  <a:gd name="connsiteX0" fmla="*/ 157748 w 219597"/>
                  <a:gd name="connsiteY0" fmla="*/ 105269 h 220082"/>
                  <a:gd name="connsiteX1" fmla="*/ 214547 w 219597"/>
                  <a:gd name="connsiteY1" fmla="*/ 171700 h 220082"/>
                  <a:gd name="connsiteX2" fmla="*/ 219536 w 219597"/>
                  <a:gd name="connsiteY2" fmla="*/ 202419 h 220082"/>
                  <a:gd name="connsiteX3" fmla="*/ 203034 w 219597"/>
                  <a:gd name="connsiteY3" fmla="*/ 220082 h 220082"/>
                  <a:gd name="connsiteX4" fmla="*/ 16519 w 219597"/>
                  <a:gd name="connsiteY4" fmla="*/ 220082 h 220082"/>
                  <a:gd name="connsiteX5" fmla="*/ 17 w 219597"/>
                  <a:gd name="connsiteY5" fmla="*/ 202419 h 220082"/>
                  <a:gd name="connsiteX6" fmla="*/ 50675 w 219597"/>
                  <a:gd name="connsiteY6" fmla="*/ 112181 h 220082"/>
                  <a:gd name="connsiteX7" fmla="*/ 56432 w 219597"/>
                  <a:gd name="connsiteY7" fmla="*/ 108725 h 220082"/>
                  <a:gd name="connsiteX8" fmla="*/ 62188 w 219597"/>
                  <a:gd name="connsiteY8" fmla="*/ 105269 h 220082"/>
                  <a:gd name="connsiteX9" fmla="*/ 68329 w 219597"/>
                  <a:gd name="connsiteY9" fmla="*/ 15416 h 220082"/>
                  <a:gd name="connsiteX10" fmla="*/ 149689 w 219597"/>
                  <a:gd name="connsiteY10" fmla="*/ 14264 h 220082"/>
                  <a:gd name="connsiteX11" fmla="*/ 157748 w 219597"/>
                  <a:gd name="connsiteY11" fmla="*/ 105269 h 220082"/>
                  <a:gd name="connsiteX12" fmla="*/ 186148 w 219597"/>
                  <a:gd name="connsiteY12" fmla="*/ 188211 h 220082"/>
                  <a:gd name="connsiteX13" fmla="*/ 105939 w 219597"/>
                  <a:gd name="connsiteY13" fmla="*/ 126005 h 220082"/>
                  <a:gd name="connsiteX14" fmla="*/ 34557 w 219597"/>
                  <a:gd name="connsiteY14" fmla="*/ 188211 h 220082"/>
                  <a:gd name="connsiteX15" fmla="*/ 186148 w 219597"/>
                  <a:gd name="connsiteY15" fmla="*/ 188211 h 220082"/>
                  <a:gd name="connsiteX16" fmla="*/ 141630 w 219597"/>
                  <a:gd name="connsiteY16" fmla="*/ 63415 h 220082"/>
                  <a:gd name="connsiteX17" fmla="*/ 110928 w 219597"/>
                  <a:gd name="connsiteY17" fmla="*/ 31928 h 220082"/>
                  <a:gd name="connsiteX18" fmla="*/ 79075 w 219597"/>
                  <a:gd name="connsiteY18" fmla="*/ 63415 h 220082"/>
                  <a:gd name="connsiteX19" fmla="*/ 110544 w 219597"/>
                  <a:gd name="connsiteY19" fmla="*/ 94518 h 220082"/>
                  <a:gd name="connsiteX20" fmla="*/ 141630 w 219597"/>
                  <a:gd name="connsiteY20" fmla="*/ 63415 h 22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9597" h="220082">
                    <a:moveTo>
                      <a:pt x="157748" y="105269"/>
                    </a:moveTo>
                    <a:cubicBezTo>
                      <a:pt x="185764" y="119861"/>
                      <a:pt x="205720" y="141364"/>
                      <a:pt x="214547" y="171700"/>
                    </a:cubicBezTo>
                    <a:cubicBezTo>
                      <a:pt x="217617" y="181683"/>
                      <a:pt x="218769" y="192051"/>
                      <a:pt x="219536" y="202419"/>
                    </a:cubicBezTo>
                    <a:cubicBezTo>
                      <a:pt x="220304" y="213170"/>
                      <a:pt x="213779" y="219698"/>
                      <a:pt x="203034" y="220082"/>
                    </a:cubicBezTo>
                    <a:cubicBezTo>
                      <a:pt x="140862" y="220082"/>
                      <a:pt x="78691" y="220082"/>
                      <a:pt x="16519" y="220082"/>
                    </a:cubicBezTo>
                    <a:cubicBezTo>
                      <a:pt x="5774" y="220082"/>
                      <a:pt x="-367" y="213554"/>
                      <a:pt x="17" y="202419"/>
                    </a:cubicBezTo>
                    <a:cubicBezTo>
                      <a:pt x="1552" y="163636"/>
                      <a:pt x="18438" y="133685"/>
                      <a:pt x="50675" y="112181"/>
                    </a:cubicBezTo>
                    <a:cubicBezTo>
                      <a:pt x="52594" y="111029"/>
                      <a:pt x="54513" y="109877"/>
                      <a:pt x="56432" y="108725"/>
                    </a:cubicBezTo>
                    <a:cubicBezTo>
                      <a:pt x="58351" y="107573"/>
                      <a:pt x="60269" y="106422"/>
                      <a:pt x="62188" y="105269"/>
                    </a:cubicBezTo>
                    <a:cubicBezTo>
                      <a:pt x="40697" y="68791"/>
                      <a:pt x="43000" y="37688"/>
                      <a:pt x="68329" y="15416"/>
                    </a:cubicBezTo>
                    <a:cubicBezTo>
                      <a:pt x="91355" y="-4551"/>
                      <a:pt x="125895" y="-5319"/>
                      <a:pt x="149689" y="14264"/>
                    </a:cubicBezTo>
                    <a:cubicBezTo>
                      <a:pt x="176554" y="35768"/>
                      <a:pt x="179240" y="66871"/>
                      <a:pt x="157748" y="105269"/>
                    </a:cubicBezTo>
                    <a:close/>
                    <a:moveTo>
                      <a:pt x="186148" y="188211"/>
                    </a:moveTo>
                    <a:cubicBezTo>
                      <a:pt x="180391" y="151732"/>
                      <a:pt x="145084" y="124085"/>
                      <a:pt x="105939" y="126005"/>
                    </a:cubicBezTo>
                    <a:cubicBezTo>
                      <a:pt x="70631" y="127541"/>
                      <a:pt x="36092" y="157492"/>
                      <a:pt x="34557" y="188211"/>
                    </a:cubicBezTo>
                    <a:cubicBezTo>
                      <a:pt x="85215" y="188211"/>
                      <a:pt x="135490" y="188211"/>
                      <a:pt x="186148" y="188211"/>
                    </a:cubicBezTo>
                    <a:close/>
                    <a:moveTo>
                      <a:pt x="141630" y="63415"/>
                    </a:moveTo>
                    <a:cubicBezTo>
                      <a:pt x="141630" y="46135"/>
                      <a:pt x="127814" y="31928"/>
                      <a:pt x="110928" y="31928"/>
                    </a:cubicBezTo>
                    <a:cubicBezTo>
                      <a:pt x="93274" y="31544"/>
                      <a:pt x="79075" y="46135"/>
                      <a:pt x="79075" y="63415"/>
                    </a:cubicBezTo>
                    <a:cubicBezTo>
                      <a:pt x="79075" y="80310"/>
                      <a:pt x="93274" y="94518"/>
                      <a:pt x="110544" y="94518"/>
                    </a:cubicBezTo>
                    <a:cubicBezTo>
                      <a:pt x="127430" y="94518"/>
                      <a:pt x="141246" y="80310"/>
                      <a:pt x="141630" y="63415"/>
                    </a:cubicBezTo>
                    <a:close/>
                  </a:path>
                </a:pathLst>
              </a:custGeom>
              <a:grpFill/>
              <a:ln w="3834" cap="flat">
                <a:noFill/>
                <a:prstDash val="solid"/>
                <a:miter/>
              </a:ln>
            </p:spPr>
            <p:txBody>
              <a:bodyPr rtlCol="0" anchor="ctr"/>
              <a:lstStyle/>
              <a:p>
                <a:endParaRPr lang="en-US"/>
              </a:p>
            </p:txBody>
          </p:sp>
          <p:sp>
            <p:nvSpPr>
              <p:cNvPr id="11" name="Freeform 275">
                <a:extLst>
                  <a:ext uri="{FF2B5EF4-FFF2-40B4-BE49-F238E27FC236}">
                    <a16:creationId xmlns:a16="http://schemas.microsoft.com/office/drawing/2014/main" id="{121FB353-D847-5277-61D9-671BFBDB3A7E}"/>
                  </a:ext>
                </a:extLst>
              </p:cNvPr>
              <p:cNvSpPr/>
              <p:nvPr/>
            </p:nvSpPr>
            <p:spPr>
              <a:xfrm>
                <a:off x="3135377" y="5234295"/>
                <a:ext cx="219647" cy="220409"/>
              </a:xfrm>
              <a:custGeom>
                <a:avLst/>
                <a:gdLst>
                  <a:gd name="connsiteX0" fmla="*/ 62236 w 219647"/>
                  <a:gd name="connsiteY0" fmla="*/ 105213 h 220409"/>
                  <a:gd name="connsiteX1" fmla="*/ 69143 w 219647"/>
                  <a:gd name="connsiteY1" fmla="*/ 14975 h 220409"/>
                  <a:gd name="connsiteX2" fmla="*/ 150504 w 219647"/>
                  <a:gd name="connsiteY2" fmla="*/ 14975 h 220409"/>
                  <a:gd name="connsiteX3" fmla="*/ 157795 w 219647"/>
                  <a:gd name="connsiteY3" fmla="*/ 104829 h 220409"/>
                  <a:gd name="connsiteX4" fmla="*/ 181590 w 219647"/>
                  <a:gd name="connsiteY4" fmla="*/ 121724 h 220409"/>
                  <a:gd name="connsiteX5" fmla="*/ 219583 w 219647"/>
                  <a:gd name="connsiteY5" fmla="*/ 200826 h 220409"/>
                  <a:gd name="connsiteX6" fmla="*/ 201162 w 219647"/>
                  <a:gd name="connsiteY6" fmla="*/ 220409 h 220409"/>
                  <a:gd name="connsiteX7" fmla="*/ 18485 w 219647"/>
                  <a:gd name="connsiteY7" fmla="*/ 220409 h 220409"/>
                  <a:gd name="connsiteX8" fmla="*/ 64 w 219647"/>
                  <a:gd name="connsiteY8" fmla="*/ 200826 h 220409"/>
                  <a:gd name="connsiteX9" fmla="*/ 50722 w 219647"/>
                  <a:gd name="connsiteY9" fmla="*/ 112509 h 220409"/>
                  <a:gd name="connsiteX10" fmla="*/ 62236 w 219647"/>
                  <a:gd name="connsiteY10" fmla="*/ 105213 h 220409"/>
                  <a:gd name="connsiteX11" fmla="*/ 186195 w 219647"/>
                  <a:gd name="connsiteY11" fmla="*/ 188154 h 220409"/>
                  <a:gd name="connsiteX12" fmla="*/ 105986 w 219647"/>
                  <a:gd name="connsiteY12" fmla="*/ 125948 h 220409"/>
                  <a:gd name="connsiteX13" fmla="*/ 34604 w 219647"/>
                  <a:gd name="connsiteY13" fmla="*/ 188154 h 220409"/>
                  <a:gd name="connsiteX14" fmla="*/ 186195 w 219647"/>
                  <a:gd name="connsiteY14" fmla="*/ 188154 h 220409"/>
                  <a:gd name="connsiteX15" fmla="*/ 141293 w 219647"/>
                  <a:gd name="connsiteY15" fmla="*/ 62590 h 220409"/>
                  <a:gd name="connsiteX16" fmla="*/ 109824 w 219647"/>
                  <a:gd name="connsiteY16" fmla="*/ 31487 h 220409"/>
                  <a:gd name="connsiteX17" fmla="*/ 78738 w 219647"/>
                  <a:gd name="connsiteY17" fmla="*/ 63742 h 220409"/>
                  <a:gd name="connsiteX18" fmla="*/ 110591 w 219647"/>
                  <a:gd name="connsiteY18" fmla="*/ 94077 h 220409"/>
                  <a:gd name="connsiteX19" fmla="*/ 141293 w 219647"/>
                  <a:gd name="connsiteY19" fmla="*/ 62590 h 22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647" h="220409">
                    <a:moveTo>
                      <a:pt x="62236" y="105213"/>
                    </a:moveTo>
                    <a:cubicBezTo>
                      <a:pt x="40744" y="67966"/>
                      <a:pt x="43431" y="36479"/>
                      <a:pt x="69143" y="14975"/>
                    </a:cubicBezTo>
                    <a:cubicBezTo>
                      <a:pt x="92554" y="-4992"/>
                      <a:pt x="126710" y="-4992"/>
                      <a:pt x="150504" y="14975"/>
                    </a:cubicBezTo>
                    <a:cubicBezTo>
                      <a:pt x="176600" y="36863"/>
                      <a:pt x="178903" y="68350"/>
                      <a:pt x="157795" y="104829"/>
                    </a:cubicBezTo>
                    <a:cubicBezTo>
                      <a:pt x="165855" y="110589"/>
                      <a:pt x="174298" y="115580"/>
                      <a:pt x="181590" y="121724"/>
                    </a:cubicBezTo>
                    <a:cubicBezTo>
                      <a:pt x="205767" y="142460"/>
                      <a:pt x="218048" y="168955"/>
                      <a:pt x="219583" y="200826"/>
                    </a:cubicBezTo>
                    <a:cubicBezTo>
                      <a:pt x="220351" y="214265"/>
                      <a:pt x="214210" y="220409"/>
                      <a:pt x="201162" y="220409"/>
                    </a:cubicBezTo>
                    <a:cubicBezTo>
                      <a:pt x="140142" y="220409"/>
                      <a:pt x="79505" y="220409"/>
                      <a:pt x="18485" y="220409"/>
                    </a:cubicBezTo>
                    <a:cubicBezTo>
                      <a:pt x="5437" y="220409"/>
                      <a:pt x="-704" y="214265"/>
                      <a:pt x="64" y="200826"/>
                    </a:cubicBezTo>
                    <a:cubicBezTo>
                      <a:pt x="1983" y="162811"/>
                      <a:pt x="18869" y="133628"/>
                      <a:pt x="50722" y="112509"/>
                    </a:cubicBezTo>
                    <a:cubicBezTo>
                      <a:pt x="54560" y="109437"/>
                      <a:pt x="58398" y="107517"/>
                      <a:pt x="62236" y="105213"/>
                    </a:cubicBezTo>
                    <a:close/>
                    <a:moveTo>
                      <a:pt x="186195" y="188154"/>
                    </a:moveTo>
                    <a:cubicBezTo>
                      <a:pt x="180822" y="151675"/>
                      <a:pt x="145515" y="124412"/>
                      <a:pt x="105986" y="125948"/>
                    </a:cubicBezTo>
                    <a:cubicBezTo>
                      <a:pt x="71062" y="127484"/>
                      <a:pt x="36523" y="157051"/>
                      <a:pt x="34604" y="188154"/>
                    </a:cubicBezTo>
                    <a:cubicBezTo>
                      <a:pt x="84878" y="188154"/>
                      <a:pt x="135537" y="188154"/>
                      <a:pt x="186195" y="188154"/>
                    </a:cubicBezTo>
                    <a:close/>
                    <a:moveTo>
                      <a:pt x="141293" y="62590"/>
                    </a:moveTo>
                    <a:cubicBezTo>
                      <a:pt x="140909" y="45311"/>
                      <a:pt x="126710" y="31487"/>
                      <a:pt x="109824" y="31487"/>
                    </a:cubicBezTo>
                    <a:cubicBezTo>
                      <a:pt x="92170" y="31487"/>
                      <a:pt x="78354" y="46079"/>
                      <a:pt x="78738" y="63742"/>
                    </a:cubicBezTo>
                    <a:cubicBezTo>
                      <a:pt x="79122" y="80638"/>
                      <a:pt x="93705" y="94461"/>
                      <a:pt x="110591" y="94077"/>
                    </a:cubicBezTo>
                    <a:cubicBezTo>
                      <a:pt x="127861" y="94077"/>
                      <a:pt x="141677" y="79870"/>
                      <a:pt x="141293" y="62590"/>
                    </a:cubicBezTo>
                    <a:close/>
                  </a:path>
                </a:pathLst>
              </a:custGeom>
              <a:grpFill/>
              <a:ln w="3834" cap="flat">
                <a:noFill/>
                <a:prstDash val="solid"/>
                <a:miter/>
              </a:ln>
            </p:spPr>
            <p:txBody>
              <a:bodyPr rtlCol="0" anchor="ctr"/>
              <a:lstStyle/>
              <a:p>
                <a:endParaRPr lang="en-US"/>
              </a:p>
            </p:txBody>
          </p:sp>
          <p:sp>
            <p:nvSpPr>
              <p:cNvPr id="12" name="Freeform 276">
                <a:extLst>
                  <a:ext uri="{FF2B5EF4-FFF2-40B4-BE49-F238E27FC236}">
                    <a16:creationId xmlns:a16="http://schemas.microsoft.com/office/drawing/2014/main" id="{DCCB36F4-CFA2-5982-E0EE-A137E211836F}"/>
                  </a:ext>
                </a:extLst>
              </p:cNvPr>
              <p:cNvSpPr/>
              <p:nvPr/>
            </p:nvSpPr>
            <p:spPr>
              <a:xfrm>
                <a:off x="2837244" y="5533037"/>
                <a:ext cx="125498" cy="125948"/>
              </a:xfrm>
              <a:custGeom>
                <a:avLst/>
                <a:gdLst>
                  <a:gd name="connsiteX0" fmla="*/ 62559 w 125498"/>
                  <a:gd name="connsiteY0" fmla="*/ 0 h 125948"/>
                  <a:gd name="connsiteX1" fmla="*/ 125498 w 125498"/>
                  <a:gd name="connsiteY1" fmla="*/ 62974 h 125948"/>
                  <a:gd name="connsiteX2" fmla="*/ 62559 w 125498"/>
                  <a:gd name="connsiteY2" fmla="*/ 125948 h 125948"/>
                  <a:gd name="connsiteX3" fmla="*/ 4 w 125498"/>
                  <a:gd name="connsiteY3" fmla="*/ 63742 h 125948"/>
                  <a:gd name="connsiteX4" fmla="*/ 62559 w 125498"/>
                  <a:gd name="connsiteY4" fmla="*/ 0 h 125948"/>
                  <a:gd name="connsiteX5" fmla="*/ 62559 w 125498"/>
                  <a:gd name="connsiteY5" fmla="*/ 31487 h 125948"/>
                  <a:gd name="connsiteX6" fmla="*/ 31473 w 125498"/>
                  <a:gd name="connsiteY6" fmla="*/ 62974 h 125948"/>
                  <a:gd name="connsiteX7" fmla="*/ 63327 w 125498"/>
                  <a:gd name="connsiteY7" fmla="*/ 94461 h 125948"/>
                  <a:gd name="connsiteX8" fmla="*/ 94029 w 125498"/>
                  <a:gd name="connsiteY8" fmla="*/ 62590 h 125948"/>
                  <a:gd name="connsiteX9" fmla="*/ 62559 w 125498"/>
                  <a:gd name="connsiteY9" fmla="*/ 31487 h 12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498" h="125948">
                    <a:moveTo>
                      <a:pt x="62559" y="0"/>
                    </a:moveTo>
                    <a:cubicBezTo>
                      <a:pt x="97483" y="0"/>
                      <a:pt x="125498" y="28031"/>
                      <a:pt x="125498" y="62974"/>
                    </a:cubicBezTo>
                    <a:cubicBezTo>
                      <a:pt x="125498" y="97533"/>
                      <a:pt x="97099" y="125948"/>
                      <a:pt x="62559" y="125948"/>
                    </a:cubicBezTo>
                    <a:cubicBezTo>
                      <a:pt x="28403" y="125948"/>
                      <a:pt x="388" y="97917"/>
                      <a:pt x="4" y="63742"/>
                    </a:cubicBezTo>
                    <a:cubicBezTo>
                      <a:pt x="-380" y="28415"/>
                      <a:pt x="27636" y="0"/>
                      <a:pt x="62559" y="0"/>
                    </a:cubicBezTo>
                    <a:close/>
                    <a:moveTo>
                      <a:pt x="62559" y="31487"/>
                    </a:moveTo>
                    <a:cubicBezTo>
                      <a:pt x="45289" y="31487"/>
                      <a:pt x="31473" y="45695"/>
                      <a:pt x="31473" y="62974"/>
                    </a:cubicBezTo>
                    <a:cubicBezTo>
                      <a:pt x="31473" y="80638"/>
                      <a:pt x="46057" y="94845"/>
                      <a:pt x="63327" y="94461"/>
                    </a:cubicBezTo>
                    <a:cubicBezTo>
                      <a:pt x="80213" y="94077"/>
                      <a:pt x="94413" y="79870"/>
                      <a:pt x="94029" y="62590"/>
                    </a:cubicBezTo>
                    <a:cubicBezTo>
                      <a:pt x="93645" y="45311"/>
                      <a:pt x="79829" y="31487"/>
                      <a:pt x="62559" y="31487"/>
                    </a:cubicBezTo>
                    <a:close/>
                  </a:path>
                </a:pathLst>
              </a:custGeom>
              <a:grpFill/>
              <a:ln w="3834" cap="flat">
                <a:noFill/>
                <a:prstDash val="solid"/>
                <a:miter/>
              </a:ln>
            </p:spPr>
            <p:txBody>
              <a:bodyPr rtlCol="0" anchor="ctr"/>
              <a:lstStyle/>
              <a:p>
                <a:endParaRPr lang="en-US"/>
              </a:p>
            </p:txBody>
          </p:sp>
          <p:sp>
            <p:nvSpPr>
              <p:cNvPr id="13" name="Freeform 277">
                <a:extLst>
                  <a:ext uri="{FF2B5EF4-FFF2-40B4-BE49-F238E27FC236}">
                    <a16:creationId xmlns:a16="http://schemas.microsoft.com/office/drawing/2014/main" id="{2982CD0F-736C-B0A8-3E8F-7DCCD23B771F}"/>
                  </a:ext>
                </a:extLst>
              </p:cNvPr>
              <p:cNvSpPr/>
              <p:nvPr/>
            </p:nvSpPr>
            <p:spPr>
              <a:xfrm>
                <a:off x="2459992" y="5485801"/>
                <a:ext cx="94419" cy="94102"/>
              </a:xfrm>
              <a:custGeom>
                <a:avLst/>
                <a:gdLst>
                  <a:gd name="connsiteX0" fmla="*/ 94414 w 94419"/>
                  <a:gd name="connsiteY0" fmla="*/ 48388 h 94102"/>
                  <a:gd name="connsiteX1" fmla="*/ 46442 w 94419"/>
                  <a:gd name="connsiteY1" fmla="*/ 94082 h 94102"/>
                  <a:gd name="connsiteX2" fmla="*/ 5 w 94419"/>
                  <a:gd name="connsiteY2" fmla="*/ 45700 h 94102"/>
                  <a:gd name="connsiteX3" fmla="*/ 47977 w 94419"/>
                  <a:gd name="connsiteY3" fmla="*/ 5 h 94102"/>
                  <a:gd name="connsiteX4" fmla="*/ 94414 w 94419"/>
                  <a:gd name="connsiteY4" fmla="*/ 48388 h 94102"/>
                  <a:gd name="connsiteX5" fmla="*/ 62944 w 94419"/>
                  <a:gd name="connsiteY5" fmla="*/ 47236 h 94102"/>
                  <a:gd name="connsiteX6" fmla="*/ 47593 w 94419"/>
                  <a:gd name="connsiteY6" fmla="*/ 31492 h 94102"/>
                  <a:gd name="connsiteX7" fmla="*/ 31475 w 94419"/>
                  <a:gd name="connsiteY7" fmla="*/ 46468 h 94102"/>
                  <a:gd name="connsiteX8" fmla="*/ 47210 w 94419"/>
                  <a:gd name="connsiteY8" fmla="*/ 62979 h 94102"/>
                  <a:gd name="connsiteX9" fmla="*/ 62944 w 94419"/>
                  <a:gd name="connsiteY9" fmla="*/ 47236 h 9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419" h="94102">
                    <a:moveTo>
                      <a:pt x="94414" y="48388"/>
                    </a:moveTo>
                    <a:cubicBezTo>
                      <a:pt x="94030" y="73731"/>
                      <a:pt x="72155" y="94850"/>
                      <a:pt x="46442" y="94082"/>
                    </a:cubicBezTo>
                    <a:cubicBezTo>
                      <a:pt x="20345" y="93698"/>
                      <a:pt x="-378" y="71811"/>
                      <a:pt x="5" y="45700"/>
                    </a:cubicBezTo>
                    <a:cubicBezTo>
                      <a:pt x="773" y="19973"/>
                      <a:pt x="22264" y="-379"/>
                      <a:pt x="47977" y="5"/>
                    </a:cubicBezTo>
                    <a:cubicBezTo>
                      <a:pt x="74074" y="389"/>
                      <a:pt x="94798" y="22277"/>
                      <a:pt x="94414" y="48388"/>
                    </a:cubicBezTo>
                    <a:close/>
                    <a:moveTo>
                      <a:pt x="62944" y="47236"/>
                    </a:moveTo>
                    <a:cubicBezTo>
                      <a:pt x="62944" y="38788"/>
                      <a:pt x="56036" y="31492"/>
                      <a:pt x="47593" y="31492"/>
                    </a:cubicBezTo>
                    <a:cubicBezTo>
                      <a:pt x="39150" y="31108"/>
                      <a:pt x="31859" y="38020"/>
                      <a:pt x="31475" y="46468"/>
                    </a:cubicBezTo>
                    <a:cubicBezTo>
                      <a:pt x="31091" y="55300"/>
                      <a:pt x="38383" y="62979"/>
                      <a:pt x="47210" y="62979"/>
                    </a:cubicBezTo>
                    <a:cubicBezTo>
                      <a:pt x="55653" y="62595"/>
                      <a:pt x="62944" y="55684"/>
                      <a:pt x="62944" y="47236"/>
                    </a:cubicBezTo>
                    <a:close/>
                  </a:path>
                </a:pathLst>
              </a:custGeom>
              <a:grpFill/>
              <a:ln w="3834" cap="flat">
                <a:noFill/>
                <a:prstDash val="solid"/>
                <a:miter/>
              </a:ln>
            </p:spPr>
            <p:txBody>
              <a:bodyPr rtlCol="0" anchor="ctr"/>
              <a:lstStyle/>
              <a:p>
                <a:endParaRPr lang="en-US"/>
              </a:p>
            </p:txBody>
          </p:sp>
          <p:sp>
            <p:nvSpPr>
              <p:cNvPr id="14" name="Freeform 278">
                <a:extLst>
                  <a:ext uri="{FF2B5EF4-FFF2-40B4-BE49-F238E27FC236}">
                    <a16:creationId xmlns:a16="http://schemas.microsoft.com/office/drawing/2014/main" id="{1B88D203-5BEC-7619-8AFA-EC6EFF876F78}"/>
                  </a:ext>
                </a:extLst>
              </p:cNvPr>
              <p:cNvSpPr/>
              <p:nvPr/>
            </p:nvSpPr>
            <p:spPr>
              <a:xfrm>
                <a:off x="3245585" y="5485802"/>
                <a:ext cx="94408" cy="94087"/>
              </a:xfrm>
              <a:custGeom>
                <a:avLst/>
                <a:gdLst>
                  <a:gd name="connsiteX0" fmla="*/ 0 w 94408"/>
                  <a:gd name="connsiteY0" fmla="*/ 46852 h 94087"/>
                  <a:gd name="connsiteX1" fmla="*/ 47972 w 94408"/>
                  <a:gd name="connsiteY1" fmla="*/ 5 h 94087"/>
                  <a:gd name="connsiteX2" fmla="*/ 94409 w 94408"/>
                  <a:gd name="connsiteY2" fmla="*/ 47236 h 94087"/>
                  <a:gd name="connsiteX3" fmla="*/ 46437 w 94408"/>
                  <a:gd name="connsiteY3" fmla="*/ 94082 h 94087"/>
                  <a:gd name="connsiteX4" fmla="*/ 0 w 94408"/>
                  <a:gd name="connsiteY4" fmla="*/ 46852 h 94087"/>
                  <a:gd name="connsiteX5" fmla="*/ 46821 w 94408"/>
                  <a:gd name="connsiteY5" fmla="*/ 31492 h 94087"/>
                  <a:gd name="connsiteX6" fmla="*/ 31086 w 94408"/>
                  <a:gd name="connsiteY6" fmla="*/ 46852 h 94087"/>
                  <a:gd name="connsiteX7" fmla="*/ 46437 w 94408"/>
                  <a:gd name="connsiteY7" fmla="*/ 62595 h 94087"/>
                  <a:gd name="connsiteX8" fmla="*/ 62555 w 94408"/>
                  <a:gd name="connsiteY8" fmla="*/ 46468 h 94087"/>
                  <a:gd name="connsiteX9" fmla="*/ 46821 w 94408"/>
                  <a:gd name="connsiteY9" fmla="*/ 31492 h 9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408" h="94087">
                    <a:moveTo>
                      <a:pt x="0" y="46852"/>
                    </a:moveTo>
                    <a:cubicBezTo>
                      <a:pt x="0" y="20740"/>
                      <a:pt x="21491" y="-379"/>
                      <a:pt x="47972" y="5"/>
                    </a:cubicBezTo>
                    <a:cubicBezTo>
                      <a:pt x="73301" y="389"/>
                      <a:pt x="94409" y="21893"/>
                      <a:pt x="94409" y="47236"/>
                    </a:cubicBezTo>
                    <a:cubicBezTo>
                      <a:pt x="94025" y="73347"/>
                      <a:pt x="72533" y="94466"/>
                      <a:pt x="46437" y="94082"/>
                    </a:cubicBezTo>
                    <a:cubicBezTo>
                      <a:pt x="20724" y="93698"/>
                      <a:pt x="0" y="72579"/>
                      <a:pt x="0" y="46852"/>
                    </a:cubicBezTo>
                    <a:close/>
                    <a:moveTo>
                      <a:pt x="46821" y="31492"/>
                    </a:moveTo>
                    <a:cubicBezTo>
                      <a:pt x="38378" y="31492"/>
                      <a:pt x="31470" y="38404"/>
                      <a:pt x="31086" y="46852"/>
                    </a:cubicBezTo>
                    <a:cubicBezTo>
                      <a:pt x="31086" y="55299"/>
                      <a:pt x="37994" y="62595"/>
                      <a:pt x="46437" y="62595"/>
                    </a:cubicBezTo>
                    <a:cubicBezTo>
                      <a:pt x="55263" y="62979"/>
                      <a:pt x="62555" y="55299"/>
                      <a:pt x="62555" y="46468"/>
                    </a:cubicBezTo>
                    <a:cubicBezTo>
                      <a:pt x="62555" y="38404"/>
                      <a:pt x="55263" y="31492"/>
                      <a:pt x="46821" y="31492"/>
                    </a:cubicBezTo>
                    <a:close/>
                  </a:path>
                </a:pathLst>
              </a:custGeom>
              <a:grpFill/>
              <a:ln w="3834" cap="flat">
                <a:noFill/>
                <a:prstDash val="solid"/>
                <a:miter/>
              </a:ln>
            </p:spPr>
            <p:txBody>
              <a:bodyPr rtlCol="0" anchor="ctr"/>
              <a:lstStyle/>
              <a:p>
                <a:endParaRPr lang="en-US"/>
              </a:p>
            </p:txBody>
          </p:sp>
          <p:sp>
            <p:nvSpPr>
              <p:cNvPr id="15" name="Freeform 279">
                <a:extLst>
                  <a:ext uri="{FF2B5EF4-FFF2-40B4-BE49-F238E27FC236}">
                    <a16:creationId xmlns:a16="http://schemas.microsoft.com/office/drawing/2014/main" id="{2F6F7898-97D0-02AE-CA48-DB0E955B9139}"/>
                  </a:ext>
                </a:extLst>
              </p:cNvPr>
              <p:cNvSpPr/>
              <p:nvPr/>
            </p:nvSpPr>
            <p:spPr>
              <a:xfrm>
                <a:off x="2523320" y="5014653"/>
                <a:ext cx="94030" cy="94077"/>
              </a:xfrm>
              <a:custGeom>
                <a:avLst/>
                <a:gdLst>
                  <a:gd name="connsiteX0" fmla="*/ 94025 w 94030"/>
                  <a:gd name="connsiteY0" fmla="*/ 46462 h 94077"/>
                  <a:gd name="connsiteX1" fmla="*/ 47204 w 94030"/>
                  <a:gd name="connsiteY1" fmla="*/ 94077 h 94077"/>
                  <a:gd name="connsiteX2" fmla="*/ 0 w 94030"/>
                  <a:gd name="connsiteY2" fmla="*/ 47615 h 94077"/>
                  <a:gd name="connsiteX3" fmla="*/ 46821 w 94030"/>
                  <a:gd name="connsiteY3" fmla="*/ 0 h 94077"/>
                  <a:gd name="connsiteX4" fmla="*/ 94025 w 94030"/>
                  <a:gd name="connsiteY4" fmla="*/ 46462 h 94077"/>
                  <a:gd name="connsiteX5" fmla="*/ 62555 w 94030"/>
                  <a:gd name="connsiteY5" fmla="*/ 47231 h 94077"/>
                  <a:gd name="connsiteX6" fmla="*/ 47588 w 94030"/>
                  <a:gd name="connsiteY6" fmla="*/ 31487 h 94077"/>
                  <a:gd name="connsiteX7" fmla="*/ 31470 w 94030"/>
                  <a:gd name="connsiteY7" fmla="*/ 47231 h 94077"/>
                  <a:gd name="connsiteX8" fmla="*/ 47204 w 94030"/>
                  <a:gd name="connsiteY8" fmla="*/ 62590 h 94077"/>
                  <a:gd name="connsiteX9" fmla="*/ 62555 w 94030"/>
                  <a:gd name="connsiteY9" fmla="*/ 47231 h 9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30" h="94077">
                    <a:moveTo>
                      <a:pt x="94025" y="46462"/>
                    </a:moveTo>
                    <a:cubicBezTo>
                      <a:pt x="94409" y="72574"/>
                      <a:pt x="73301" y="94077"/>
                      <a:pt x="47204" y="94077"/>
                    </a:cubicBezTo>
                    <a:cubicBezTo>
                      <a:pt x="21491" y="94077"/>
                      <a:pt x="384" y="72958"/>
                      <a:pt x="0" y="47615"/>
                    </a:cubicBezTo>
                    <a:cubicBezTo>
                      <a:pt x="0" y="21503"/>
                      <a:pt x="21108" y="0"/>
                      <a:pt x="46821" y="0"/>
                    </a:cubicBezTo>
                    <a:cubicBezTo>
                      <a:pt x="72534" y="0"/>
                      <a:pt x="93641" y="20735"/>
                      <a:pt x="94025" y="46462"/>
                    </a:cubicBezTo>
                    <a:close/>
                    <a:moveTo>
                      <a:pt x="62555" y="47231"/>
                    </a:moveTo>
                    <a:cubicBezTo>
                      <a:pt x="62555" y="38783"/>
                      <a:pt x="56031" y="31487"/>
                      <a:pt x="47588" y="31487"/>
                    </a:cubicBezTo>
                    <a:cubicBezTo>
                      <a:pt x="38761" y="31103"/>
                      <a:pt x="31470" y="38399"/>
                      <a:pt x="31470" y="47231"/>
                    </a:cubicBezTo>
                    <a:cubicBezTo>
                      <a:pt x="31470" y="55678"/>
                      <a:pt x="38761" y="62590"/>
                      <a:pt x="47204" y="62590"/>
                    </a:cubicBezTo>
                    <a:cubicBezTo>
                      <a:pt x="55264" y="62590"/>
                      <a:pt x="62172" y="55678"/>
                      <a:pt x="62555" y="47231"/>
                    </a:cubicBezTo>
                    <a:close/>
                  </a:path>
                </a:pathLst>
              </a:custGeom>
              <a:grpFill/>
              <a:ln w="3834" cap="flat">
                <a:noFill/>
                <a:prstDash val="solid"/>
                <a:miter/>
              </a:ln>
            </p:spPr>
            <p:txBody>
              <a:bodyPr rtlCol="0" anchor="ctr"/>
              <a:lstStyle/>
              <a:p>
                <a:endParaRPr lang="en-US"/>
              </a:p>
            </p:txBody>
          </p:sp>
          <p:sp>
            <p:nvSpPr>
              <p:cNvPr id="16" name="Freeform 280">
                <a:extLst>
                  <a:ext uri="{FF2B5EF4-FFF2-40B4-BE49-F238E27FC236}">
                    <a16:creationId xmlns:a16="http://schemas.microsoft.com/office/drawing/2014/main" id="{A163109E-2D48-1305-FB2A-B722A343673A}"/>
                  </a:ext>
                </a:extLst>
              </p:cNvPr>
              <p:cNvSpPr/>
              <p:nvPr/>
            </p:nvSpPr>
            <p:spPr>
              <a:xfrm>
                <a:off x="3182646" y="5014648"/>
                <a:ext cx="94030" cy="94466"/>
              </a:xfrm>
              <a:custGeom>
                <a:avLst/>
                <a:gdLst>
                  <a:gd name="connsiteX0" fmla="*/ 47204 w 94030"/>
                  <a:gd name="connsiteY0" fmla="*/ 5 h 94466"/>
                  <a:gd name="connsiteX1" fmla="*/ 94025 w 94030"/>
                  <a:gd name="connsiteY1" fmla="*/ 48004 h 94466"/>
                  <a:gd name="connsiteX2" fmla="*/ 46821 w 94030"/>
                  <a:gd name="connsiteY2" fmla="*/ 94466 h 94466"/>
                  <a:gd name="connsiteX3" fmla="*/ 0 w 94030"/>
                  <a:gd name="connsiteY3" fmla="*/ 47620 h 94466"/>
                  <a:gd name="connsiteX4" fmla="*/ 47204 w 94030"/>
                  <a:gd name="connsiteY4" fmla="*/ 5 h 94466"/>
                  <a:gd name="connsiteX5" fmla="*/ 62555 w 94030"/>
                  <a:gd name="connsiteY5" fmla="*/ 46852 h 94466"/>
                  <a:gd name="connsiteX6" fmla="*/ 47204 w 94030"/>
                  <a:gd name="connsiteY6" fmla="*/ 31492 h 94466"/>
                  <a:gd name="connsiteX7" fmla="*/ 31470 w 94030"/>
                  <a:gd name="connsiteY7" fmla="*/ 47620 h 94466"/>
                  <a:gd name="connsiteX8" fmla="*/ 47588 w 94030"/>
                  <a:gd name="connsiteY8" fmla="*/ 62595 h 94466"/>
                  <a:gd name="connsiteX9" fmla="*/ 62555 w 94030"/>
                  <a:gd name="connsiteY9" fmla="*/ 46852 h 9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30" h="94466">
                    <a:moveTo>
                      <a:pt x="47204" y="5"/>
                    </a:moveTo>
                    <a:cubicBezTo>
                      <a:pt x="73301" y="5"/>
                      <a:pt x="94409" y="21892"/>
                      <a:pt x="94025" y="48004"/>
                    </a:cubicBezTo>
                    <a:cubicBezTo>
                      <a:pt x="93641" y="73731"/>
                      <a:pt x="72534" y="94466"/>
                      <a:pt x="46821" y="94466"/>
                    </a:cubicBezTo>
                    <a:cubicBezTo>
                      <a:pt x="21108" y="94466"/>
                      <a:pt x="0" y="73347"/>
                      <a:pt x="0" y="47620"/>
                    </a:cubicBezTo>
                    <a:cubicBezTo>
                      <a:pt x="0" y="21124"/>
                      <a:pt x="21108" y="-379"/>
                      <a:pt x="47204" y="5"/>
                    </a:cubicBezTo>
                    <a:close/>
                    <a:moveTo>
                      <a:pt x="62555" y="46852"/>
                    </a:moveTo>
                    <a:cubicBezTo>
                      <a:pt x="62555" y="38404"/>
                      <a:pt x="55647" y="31492"/>
                      <a:pt x="47204" y="31492"/>
                    </a:cubicBezTo>
                    <a:cubicBezTo>
                      <a:pt x="38378" y="31492"/>
                      <a:pt x="31086" y="38788"/>
                      <a:pt x="31470" y="47620"/>
                    </a:cubicBezTo>
                    <a:cubicBezTo>
                      <a:pt x="31853" y="56067"/>
                      <a:pt x="39145" y="62979"/>
                      <a:pt x="47588" y="62595"/>
                    </a:cubicBezTo>
                    <a:cubicBezTo>
                      <a:pt x="56031" y="62211"/>
                      <a:pt x="62939" y="55299"/>
                      <a:pt x="62555" y="46852"/>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824615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a:t>Solarenergie</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200" dirty="0"/>
              <a:t>Verwendung Fotovoltaikzellen werden zur Umwandlung von Sonnenlicht in Strom verwendet. Sie werden in Privathaushalten, im Gewerbe und in der Industrie eingesetzt, tragen zur dezentralen Energieerzeugung bei und verringern die Abhängigkeit von fossilen Brennstoffen.</a:t>
            </a:r>
            <a:endParaRPr lang="en-IE" sz="22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b="1" dirty="0"/>
              <a:t>Windenergie</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200" dirty="0"/>
              <a:t>Nutzt den Wind durch Turbinen zur Stromerzeugung, wobei die weltweite Kapazität an erneuerbaren Energien erheblich wächst. Offshore-Windparks fangen stärkere Winde ein und liefern viel saubere Energie.</a:t>
            </a:r>
            <a:endParaRPr lang="en-IE" sz="2200" dirty="0"/>
          </a:p>
        </p:txBody>
      </p:sp>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1" y="-18435"/>
            <a:ext cx="1761688" cy="379162"/>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ENERGIESEKTOR</a:t>
            </a:r>
          </a:p>
        </p:txBody>
      </p:sp>
      <p:pic>
        <p:nvPicPr>
          <p:cNvPr id="6" name="Picture Placeholder 9">
            <a:extLst>
              <a:ext uri="{FF2B5EF4-FFF2-40B4-BE49-F238E27FC236}">
                <a16:creationId xmlns:a16="http://schemas.microsoft.com/office/drawing/2014/main" id="{B3123E6A-4497-3457-9D91-E6E3F5246710}"/>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90" r="11890"/>
          <a:stretch>
            <a:fillRect/>
          </a:stretch>
        </p:blipFill>
        <p:spPr>
          <a:xfrm>
            <a:off x="1436688" y="984250"/>
            <a:ext cx="1839912" cy="1608138"/>
          </a:xfrm>
        </p:spPr>
      </p:pic>
      <p:pic>
        <p:nvPicPr>
          <p:cNvPr id="9" name="Picture Placeholder 11">
            <a:extLst>
              <a:ext uri="{FF2B5EF4-FFF2-40B4-BE49-F238E27FC236}">
                <a16:creationId xmlns:a16="http://schemas.microsoft.com/office/drawing/2014/main" id="{7D37BA99-7DED-ADAD-F948-4012470E6F1B}"/>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t="20866" b="20866"/>
          <a:stretch>
            <a:fillRect/>
          </a:stretch>
        </p:blipFill>
        <p:spPr>
          <a:xfrm>
            <a:off x="1436688" y="3657600"/>
            <a:ext cx="1839912" cy="1608138"/>
          </a:xfrm>
        </p:spPr>
      </p:pic>
    </p:spTree>
    <p:extLst>
      <p:ext uri="{BB962C8B-B14F-4D97-AF65-F5344CB8AC3E}">
        <p14:creationId xmlns:p14="http://schemas.microsoft.com/office/powerpoint/2010/main" val="32664569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dirty="0"/>
              <a:t>Wasserkraft und Gezeitenenergie</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a:xfrm>
            <a:off x="3879841" y="1695992"/>
            <a:ext cx="7490892" cy="945874"/>
          </a:xfrm>
        </p:spPr>
        <p:txBody>
          <a:bodyPr/>
          <a:lstStyle/>
          <a:p>
            <a:pPr algn="just"/>
            <a:r>
              <a:rPr lang="en-GB" sz="2200" dirty="0"/>
              <a:t>Nutzt die kinetische Energie von bewegtem Wasser zur Stromerzeugung. Die Wasserkraft, für die häufig Staudämme verwendet werden, ist eine der ältesten und zuverlässigsten Formen erneuerbarer Energien. Die Gezeitenkraft ist zwar weniger verbreitet, nutzt aber das natürliche Auf und Ab der Gezeiten zur Stromerzeugung.</a:t>
            </a:r>
            <a:endParaRPr lang="en-IE" sz="22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sz="3600" dirty="0"/>
              <a:t>Energie aus Biomasse</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a:xfrm>
            <a:off x="3879841" y="4346313"/>
            <a:ext cx="7490892" cy="945874"/>
          </a:xfrm>
        </p:spPr>
        <p:txBody>
          <a:bodyPr/>
          <a:lstStyle/>
          <a:p>
            <a:pPr algn="just"/>
            <a:r>
              <a:rPr lang="en-GB" sz="2200" dirty="0"/>
              <a:t>Die Umwandlung von organischen Materialien wie landwirtschaftlichen Abfällen, Holz und sogar Algen in nutzbare Energie. Biomasse ist eine vielseitige Energiequelle, die Strom, Wärme oder Biokraftstoffe erzeugen kann. Sie trägt zur Abfallverringerung bei und bietet eine erneuerbare Alternative zu herkömmlichen fossilen Brennstoffen.</a:t>
            </a:r>
            <a:endParaRPr lang="en-IE" sz="2200" dirty="0"/>
          </a:p>
        </p:txBody>
      </p:sp>
      <p:pic>
        <p:nvPicPr>
          <p:cNvPr id="12" name="Picture Placeholder 11">
            <a:extLst>
              <a:ext uri="{FF2B5EF4-FFF2-40B4-BE49-F238E27FC236}">
                <a16:creationId xmlns:a16="http://schemas.microsoft.com/office/drawing/2014/main" id="{C42E2C93-F2B6-8DB2-B5F5-A6659CAEB4F2}"/>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2" r="11862"/>
          <a:stretch>
            <a:fillRect/>
          </a:stretch>
        </p:blipFill>
        <p:spPr/>
      </p:pic>
      <p:pic>
        <p:nvPicPr>
          <p:cNvPr id="10" name="Picture Placeholder 9">
            <a:extLst>
              <a:ext uri="{FF2B5EF4-FFF2-40B4-BE49-F238E27FC236}">
                <a16:creationId xmlns:a16="http://schemas.microsoft.com/office/drawing/2014/main" id="{B24D44B2-0FA6-583B-2318-39EC9F3D31A9}"/>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t="17224" b="17224"/>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1" y="-18435"/>
            <a:ext cx="1761688" cy="379162"/>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ENERGIESEKTOR</a:t>
            </a:r>
          </a:p>
        </p:txBody>
      </p:sp>
    </p:spTree>
    <p:extLst>
      <p:ext uri="{BB962C8B-B14F-4D97-AF65-F5344CB8AC3E}">
        <p14:creationId xmlns:p14="http://schemas.microsoft.com/office/powerpoint/2010/main" val="16212509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a:t>Elektrofahrzeuge (EVs)</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200" dirty="0"/>
              <a:t>Diese Fahrzeuge nutzen für den Antrieb Strom, der in Batterien gespeichert wird, und verursachen keine Abgasemissionen. Mit Fortschritten in der Batterietechnologie und der Ladeinfrastruktur bieten EVs eine nachhaltige Alternative zu herkömmlichen Verbrennungsmotoren. </a:t>
            </a:r>
            <a:endParaRPr lang="en-IE" sz="22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sz="3600" b="1" dirty="0"/>
              <a:t>Wasserstoff-Brennstoffzellen</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200" dirty="0"/>
              <a:t>wandeln Wasserstoffgas durch eine chemische Reaktion mit Sauerstoff in Elektrizität um, wobei nur Wasserdampf als Nebenprodukt entsteht. Wasserstoff-Brennstoffzellenfahrzeuge eignen sich besonders für den Einsatz im Schwerlast- und Langstreckenverkehr, z. B. in Bussen, Lkw und Zügen. </a:t>
            </a:r>
            <a:endParaRPr lang="en-IE" sz="2200" dirty="0"/>
          </a:p>
        </p:txBody>
      </p:sp>
      <p:pic>
        <p:nvPicPr>
          <p:cNvPr id="12" name="Picture Placeholder 11">
            <a:extLst>
              <a:ext uri="{FF2B5EF4-FFF2-40B4-BE49-F238E27FC236}">
                <a16:creationId xmlns:a16="http://schemas.microsoft.com/office/drawing/2014/main" id="{11B372DB-CC0D-CECA-B914-FD7FCF44EA5D}"/>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2" r="11862"/>
          <a:stretch>
            <a:fillRect/>
          </a:stretch>
        </p:blipFill>
        <p:spPr/>
      </p:pic>
      <p:pic>
        <p:nvPicPr>
          <p:cNvPr id="10" name="Picture Placeholder 9">
            <a:extLst>
              <a:ext uri="{FF2B5EF4-FFF2-40B4-BE49-F238E27FC236}">
                <a16:creationId xmlns:a16="http://schemas.microsoft.com/office/drawing/2014/main" id="{00842683-65B1-99B9-1742-7CA5E1B5A744}"/>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7095" r="7095"/>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0" y="0"/>
            <a:ext cx="1971413" cy="360727"/>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TRANSPORT</a:t>
            </a:r>
          </a:p>
        </p:txBody>
      </p:sp>
    </p:spTree>
    <p:extLst>
      <p:ext uri="{BB962C8B-B14F-4D97-AF65-F5344CB8AC3E}">
        <p14:creationId xmlns:p14="http://schemas.microsoft.com/office/powerpoint/2010/main" val="1061595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a:t>Energieeffizienter Maschinenpark</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200" dirty="0"/>
              <a:t>Durch den Einsatz fortschrittlicher Technologien wie hocheffizienter Motoren, drehzahlvariabler Antriebe und intelligenter Sensoren wird der Energieverbrauch in der Produktion optimiert. Diese Innovationen verringern die Verschwendung und verbessern die Energieeffizienz in modernen Produktionsanlagen. </a:t>
            </a:r>
            <a:endParaRPr lang="en-IE" sz="22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sz="3600" b="1" dirty="0"/>
              <a:t>Recycling-Prozesse</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200" dirty="0"/>
              <a:t>Die Umwandlung von Abfallstoffen in neue Produkte erfolgt durch Recyclingtechnologien, die von einfachen Sortier- und Verarbeitungsmethoden bis hin zu fortschrittlichen Techniken wie dem chemischen Recycling reichen. Recycling schont Ressourcen, reduziert Deponieabfälle und fördert eine Kreislaufwirtschaft. </a:t>
            </a:r>
            <a:endParaRPr lang="en-IE" sz="2200" dirty="0"/>
          </a:p>
        </p:txBody>
      </p:sp>
      <p:pic>
        <p:nvPicPr>
          <p:cNvPr id="12" name="Picture Placeholder 11">
            <a:extLst>
              <a:ext uri="{FF2B5EF4-FFF2-40B4-BE49-F238E27FC236}">
                <a16:creationId xmlns:a16="http://schemas.microsoft.com/office/drawing/2014/main" id="{0151ADA3-7EF0-578D-298D-55604AA47E57}"/>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t="20866" b="20866"/>
          <a:stretch>
            <a:fillRect/>
          </a:stretch>
        </p:blipFill>
        <p:spPr/>
      </p:pic>
      <p:pic>
        <p:nvPicPr>
          <p:cNvPr id="10" name="Picture Placeholder 9">
            <a:extLst>
              <a:ext uri="{FF2B5EF4-FFF2-40B4-BE49-F238E27FC236}">
                <a16:creationId xmlns:a16="http://schemas.microsoft.com/office/drawing/2014/main" id="{DCDF999A-C772-1EB4-62ED-366BDB50D8C6}"/>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12" r="11812"/>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0" y="0"/>
            <a:ext cx="1971413" cy="360727"/>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FERTIGUNG</a:t>
            </a:r>
          </a:p>
        </p:txBody>
      </p:sp>
    </p:spTree>
    <p:extLst>
      <p:ext uri="{BB962C8B-B14F-4D97-AF65-F5344CB8AC3E}">
        <p14:creationId xmlns:p14="http://schemas.microsoft.com/office/powerpoint/2010/main" val="926444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a:t>Präzisionslandwirtschaft</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000" dirty="0"/>
              <a:t>GPS-Technologie, Sensoren und Datenanalyse zur Optimierung der Anbaumethoden. Die Präzisionslandwirtschaft ermöglicht es den Landwirten, auf der Grundlage von Echtzeitdaten und Feldbedingungen präzise Mengen an Wasser, Düngemitteln und Pestiziden direkt auf die Pflanzen aufzubringen. </a:t>
            </a:r>
            <a:endParaRPr lang="en-IE" sz="28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IE" dirty="0"/>
              <a:t>Automatisierte Landwirtschaft</a:t>
            </a:r>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000" dirty="0"/>
              <a:t>Der Einsatz von autonomen Traktoren, Erntemaschinen und anderen Maschinen zur Durchführung von Aufgaben wie Aussaat, Jäten und Ernten. Die Automatisierung senkt die Arbeitskosten, erhöht die Effizienz und ermöglicht einen kontinuierlichen landwirtschaftlichen Betrieb auch unter schwierigen Bedingungen.</a:t>
            </a:r>
            <a:endParaRPr lang="en-IE" sz="2000" dirty="0"/>
          </a:p>
        </p:txBody>
      </p:sp>
      <p:pic>
        <p:nvPicPr>
          <p:cNvPr id="12" name="Picture Placeholder 11" descr="Aerial view of tractor over dirt">
            <a:extLst>
              <a:ext uri="{FF2B5EF4-FFF2-40B4-BE49-F238E27FC236}">
                <a16:creationId xmlns:a16="http://schemas.microsoft.com/office/drawing/2014/main" id="{130A8862-FDE5-A7BC-AD52-4D92E882A356}"/>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2123" r="12123"/>
          <a:stretch>
            <a:fillRect/>
          </a:stretch>
        </p:blipFill>
        <p:spPr/>
      </p:pic>
      <p:pic>
        <p:nvPicPr>
          <p:cNvPr id="10" name="Picture Placeholder 9">
            <a:extLst>
              <a:ext uri="{FF2B5EF4-FFF2-40B4-BE49-F238E27FC236}">
                <a16:creationId xmlns:a16="http://schemas.microsoft.com/office/drawing/2014/main" id="{1FA076A4-5D03-7FB8-0E54-358FA9D4AFAD}"/>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62" r="11862"/>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0" y="0"/>
            <a:ext cx="1535185" cy="360727"/>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LANDWIRTSCHAFT</a:t>
            </a:r>
          </a:p>
        </p:txBody>
      </p:sp>
    </p:spTree>
    <p:extLst>
      <p:ext uri="{BB962C8B-B14F-4D97-AF65-F5344CB8AC3E}">
        <p14:creationId xmlns:p14="http://schemas.microsoft.com/office/powerpoint/2010/main" val="40067432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sz="2800"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1800" b="1" dirty="0">
                <a:solidFill>
                  <a:srgbClr val="0F486D"/>
                </a:solidFill>
                <a:hlinkClick r:id="rId2">
                  <a:extLst>
                    <a:ext uri="{A12FA001-AC4F-418D-AE19-62706E023703}">
                      <ahyp:hlinkClr xmlns:ahyp="http://schemas.microsoft.com/office/drawing/2018/hyperlinkcolor" val="tx"/>
                    </a:ext>
                  </a:extLst>
                </a:hlinkClick>
              </a:rPr>
              <a:t>SDG 7: Erschwingliche und saubere Energie</a:t>
            </a:r>
            <a:r>
              <a:rPr lang="en-GB" sz="1800" b="1" dirty="0"/>
              <a:t>: </a:t>
            </a:r>
            <a:r>
              <a:rPr lang="en-GB" sz="1800" dirty="0"/>
              <a:t>Saubere Technologien tragen dazu bei, den allgemeinen Zugang zu erschwinglichen, zuverlässigen und modernen Energiedienstleistungen zu erreichen.</a:t>
            </a:r>
          </a:p>
          <a:p>
            <a:pPr algn="just"/>
            <a:endParaRPr lang="en-GB" sz="1200" dirty="0"/>
          </a:p>
          <a:p>
            <a:pPr algn="just"/>
            <a:r>
              <a:rPr lang="en-GB" sz="1800" b="1" dirty="0">
                <a:solidFill>
                  <a:srgbClr val="0F486D"/>
                </a:solidFill>
                <a:hlinkClick r:id="rId3">
                  <a:extLst>
                    <a:ext uri="{A12FA001-AC4F-418D-AE19-62706E023703}">
                      <ahyp:hlinkClr xmlns:ahyp="http://schemas.microsoft.com/office/drawing/2018/hyperlinkcolor" val="tx"/>
                    </a:ext>
                  </a:extLst>
                </a:hlinkClick>
              </a:rPr>
              <a:t>SDG 13: Klimapolitik</a:t>
            </a:r>
            <a:r>
              <a:rPr lang="en-GB" sz="1800" b="1" dirty="0"/>
              <a:t>: </a:t>
            </a:r>
            <a:r>
              <a:rPr lang="en-GB" sz="1800" dirty="0"/>
              <a:t>Saubere Technologielösungen spielen eine Rolle bei der Bekämpfung des Klimawandels und seiner Auswirkungen durch geringere Treibhausgasemissionen und eine verbesserte Widerstandsfähigkeit.</a:t>
            </a:r>
          </a:p>
          <a:p>
            <a:pPr algn="just"/>
            <a:endParaRPr lang="en-GB" sz="1200" dirty="0"/>
          </a:p>
          <a:p>
            <a:pPr algn="just"/>
            <a:r>
              <a:rPr lang="en-GB" sz="1800" b="1" dirty="0">
                <a:solidFill>
                  <a:srgbClr val="0F486D"/>
                </a:solidFill>
                <a:hlinkClick r:id="rId4">
                  <a:extLst>
                    <a:ext uri="{A12FA001-AC4F-418D-AE19-62706E023703}">
                      <ahyp:hlinkClr xmlns:ahyp="http://schemas.microsoft.com/office/drawing/2018/hyperlinkcolor" val="tx"/>
                    </a:ext>
                  </a:extLst>
                </a:hlinkClick>
              </a:rPr>
              <a:t>EntreComp Schlüsselkompetenzen: Kreativität (1.2): </a:t>
            </a:r>
            <a:r>
              <a:rPr lang="en-GB" sz="1800" dirty="0"/>
              <a:t>Förderung von kreativem Denken und innovativen Lösungen bei der Erkundung von Optionen für saubere Technologien. Fördern Sie die Zusammenarbeit und das Brainstorming, um zielgerichtete Ideen zu entwickeln.</a:t>
            </a:r>
          </a:p>
          <a:p>
            <a:pPr algn="just"/>
            <a:endParaRPr lang="en-GB" sz="1200" dirty="0"/>
          </a:p>
          <a:p>
            <a:pPr algn="just"/>
            <a:r>
              <a:rPr lang="en-GB" sz="1800" b="1" dirty="0">
                <a:solidFill>
                  <a:srgbClr val="0F486D"/>
                </a:solidFill>
                <a:hlinkClick r:id="rId4">
                  <a:extLst>
                    <a:ext uri="{A12FA001-AC4F-418D-AE19-62706E023703}">
                      <ahyp:hlinkClr xmlns:ahyp="http://schemas.microsoft.com/office/drawing/2018/hyperlinkcolor" val="tx"/>
                    </a:ext>
                  </a:extLst>
                </a:hlinkClick>
              </a:rPr>
              <a:t>Ethisches und nachhaltiges Denken (1,5): </a:t>
            </a:r>
            <a:r>
              <a:rPr lang="en-GB" sz="1800" dirty="0"/>
              <a:t>Bewertung der ökologischen und sozialen Folgen von Clean-Tech-Lösungen. Förderung nachhaltiger Managementpraktiken und der sozialen Verantwortung von Unternehmen (CSR).</a:t>
            </a:r>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257558940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Two cute robots">
            <a:extLst>
              <a:ext uri="{FF2B5EF4-FFF2-40B4-BE49-F238E27FC236}">
                <a16:creationId xmlns:a16="http://schemas.microsoft.com/office/drawing/2014/main" id="{BAAFEE42-256E-80AE-96F5-585AC2D673AF}"/>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296" r="22740"/>
          <a:stretch/>
        </p:blipFill>
        <p:spPr>
          <a:xfrm>
            <a:off x="0" y="0"/>
            <a:ext cx="4994275" cy="6858000"/>
          </a:xfrm>
        </p:spPr>
      </p:pic>
      <p:sp>
        <p:nvSpPr>
          <p:cNvPr id="3" name="Text Placeholder 2">
            <a:extLst>
              <a:ext uri="{FF2B5EF4-FFF2-40B4-BE49-F238E27FC236}">
                <a16:creationId xmlns:a16="http://schemas.microsoft.com/office/drawing/2014/main" id="{9067A9E3-45DE-AE6F-0A9D-46BD6115DFBD}"/>
              </a:ext>
            </a:extLst>
          </p:cNvPr>
          <p:cNvSpPr>
            <a:spLocks noGrp="1"/>
          </p:cNvSpPr>
          <p:nvPr>
            <p:ph type="body" sz="quarter" idx="30"/>
          </p:nvPr>
        </p:nvSpPr>
        <p:spPr>
          <a:xfrm>
            <a:off x="4378416" y="230541"/>
            <a:ext cx="6776598" cy="842867"/>
          </a:xfrm>
        </p:spPr>
        <p:txBody>
          <a:bodyPr/>
          <a:lstStyle/>
          <a:p>
            <a:r>
              <a:rPr lang="en-IE" dirty="0"/>
              <a:t>PRAKTISCHE ÜBUNG </a:t>
            </a:r>
          </a:p>
        </p:txBody>
      </p:sp>
      <p:sp>
        <p:nvSpPr>
          <p:cNvPr id="4" name="Text Placeholder 3">
            <a:extLst>
              <a:ext uri="{FF2B5EF4-FFF2-40B4-BE49-F238E27FC236}">
                <a16:creationId xmlns:a16="http://schemas.microsoft.com/office/drawing/2014/main" id="{1D176735-974C-0C4E-9553-28F7A7BC99D7}"/>
              </a:ext>
            </a:extLst>
          </p:cNvPr>
          <p:cNvSpPr>
            <a:spLocks noGrp="1"/>
          </p:cNvSpPr>
          <p:nvPr>
            <p:ph type="body" sz="quarter" idx="48"/>
          </p:nvPr>
        </p:nvSpPr>
        <p:spPr>
          <a:xfrm>
            <a:off x="5343786" y="1282437"/>
            <a:ext cx="6229089" cy="5135147"/>
          </a:xfrm>
          <a:solidFill>
            <a:schemeClr val="bg1"/>
          </a:solidFill>
        </p:spPr>
        <p:txBody>
          <a:bodyPr/>
          <a:lstStyle/>
          <a:p>
            <a:pPr algn="just"/>
            <a:r>
              <a:rPr lang="en-GB" sz="1600" b="1" dirty="0"/>
              <a:t>Workshop: Entwurf einer Clean-Tech-Lösung</a:t>
            </a:r>
          </a:p>
          <a:p>
            <a:pPr algn="just"/>
            <a:endParaRPr lang="en-GB" sz="1600" b="1" dirty="0"/>
          </a:p>
          <a:p>
            <a:pPr algn="just"/>
            <a:r>
              <a:rPr lang="en-GB" sz="1600" b="1" dirty="0"/>
              <a:t>Zielsetzung:</a:t>
            </a:r>
            <a:r>
              <a:rPr lang="en-GB" sz="1600" dirty="0"/>
              <a:t> Förderung von Kreativität und Innovation bei der Entwicklung neuer Lösungen im Bereich der sauberen Technologien.</a:t>
            </a:r>
          </a:p>
          <a:p>
            <a:pPr algn="just"/>
            <a:endParaRPr lang="en-GB" sz="1600" dirty="0"/>
          </a:p>
          <a:p>
            <a:pPr algn="just"/>
            <a:r>
              <a:rPr lang="en-GB" sz="1600" b="1" dirty="0"/>
              <a:t>Aktivität:</a:t>
            </a:r>
            <a:r>
              <a:rPr lang="en-GB" sz="1600" dirty="0"/>
              <a:t> Die Lernenden werden:</a:t>
            </a:r>
          </a:p>
          <a:p>
            <a:pPr marL="285750" indent="-285750" algn="just">
              <a:buFont typeface="Arial" panose="020B0604020202020204" pitchFamily="34" charset="0"/>
              <a:buChar char="•"/>
            </a:pPr>
            <a:r>
              <a:rPr lang="en-GB" sz="1600" dirty="0"/>
              <a:t>Bilden Sie Teams, die ein neuartiges umweltfreundliches Produkt, eine Dienstleistung oder ein Verfahren entwerfen und entwickeln.</a:t>
            </a:r>
          </a:p>
          <a:p>
            <a:pPr marL="171450" indent="-171450" algn="just">
              <a:buFont typeface="Arial" panose="020B0604020202020204" pitchFamily="34" charset="0"/>
              <a:buChar char="•"/>
            </a:pPr>
            <a:endParaRPr lang="en-GB" sz="700" dirty="0"/>
          </a:p>
          <a:p>
            <a:pPr marL="285750" indent="-285750" algn="just">
              <a:buFont typeface="Arial" panose="020B0604020202020204" pitchFamily="34" charset="0"/>
              <a:buChar char="•"/>
            </a:pPr>
            <a:r>
              <a:rPr lang="en-GB" sz="1600" dirty="0"/>
              <a:t>Sie erhalten eine Problemstellung im Zusammenhang mit ökologischer Nachhaltigkeit (z. B. Reduzierung von Plastikmüll, Verbesserung der Energieeffizienz im Verkehrswesen).</a:t>
            </a:r>
          </a:p>
          <a:p>
            <a:pPr marL="171450" indent="-171450" algn="just">
              <a:buFont typeface="Arial" panose="020B0604020202020204" pitchFamily="34" charset="0"/>
              <a:buChar char="•"/>
            </a:pPr>
            <a:endParaRPr lang="en-GB" sz="700" dirty="0"/>
          </a:p>
          <a:p>
            <a:pPr marL="285750" indent="-285750" algn="just">
              <a:buFont typeface="Arial" panose="020B0604020202020204" pitchFamily="34" charset="0"/>
              <a:buChar char="•"/>
            </a:pPr>
            <a:r>
              <a:rPr lang="en-GB" sz="1600" dirty="0"/>
              <a:t>Entwickeln Sie Ideen, skizzieren Sie Prototypen und skizzieren Sie technische Spezifikationen, betriebliche Vorteile und mögliche Auswirkungen auf den Markt.</a:t>
            </a:r>
          </a:p>
          <a:p>
            <a:pPr marL="171450" indent="-171450" algn="just">
              <a:buFont typeface="Arial" panose="020B0604020202020204" pitchFamily="34" charset="0"/>
              <a:buChar char="•"/>
            </a:pPr>
            <a:endParaRPr lang="en-GB" sz="700" dirty="0"/>
          </a:p>
          <a:p>
            <a:pPr marL="285750" indent="-285750" algn="just">
              <a:buFont typeface="Arial" panose="020B0604020202020204" pitchFamily="34" charset="0"/>
              <a:buChar char="•"/>
            </a:pPr>
            <a:r>
              <a:rPr lang="en-GB" sz="1600" dirty="0"/>
              <a:t>Sie stellen ihre Innovation vor und betonen dabei die Vorteile für die Umwelt und die Machbarkeit.</a:t>
            </a:r>
          </a:p>
          <a:p>
            <a:pPr algn="just"/>
            <a:endParaRPr lang="en-IE" sz="1600" dirty="0"/>
          </a:p>
        </p:txBody>
      </p:sp>
    </p:spTree>
    <p:extLst>
      <p:ext uri="{BB962C8B-B14F-4D97-AF65-F5344CB8AC3E}">
        <p14:creationId xmlns:p14="http://schemas.microsoft.com/office/powerpoint/2010/main" val="8876717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444E78-54BF-FEA3-0179-29A33F9C7000}"/>
              </a:ext>
            </a:extLst>
          </p:cNvPr>
          <p:cNvGraphicFramePr>
            <a:graphicFrameLocks noChangeAspect="1"/>
          </p:cNvGraphicFramePr>
          <p:nvPr>
            <p:custDataLst>
              <p:tags r:id="rId1"/>
            </p:custDataLst>
            <p:extLst>
              <p:ext uri="{D42A27DB-BD31-4B8C-83A1-F6EECF244321}">
                <p14:modId xmlns:p14="http://schemas.microsoft.com/office/powerpoint/2010/main" val="2697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One glowing light bulb in sea of unlit bulbs">
            <a:extLst>
              <a:ext uri="{FF2B5EF4-FFF2-40B4-BE49-F238E27FC236}">
                <a16:creationId xmlns:a16="http://schemas.microsoft.com/office/drawing/2014/main" id="{160C3D63-E3FC-0761-4FFF-B0713D5BD431}"/>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11638" b="11638"/>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INNOVATION UND ANPASSUNGS-FÄHIGKEIT - AGILE METHODEN</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2F5FE55-79E7-5C8A-4FB1-1278C613ACA3}"/>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B99DF8E9-ACDE-6102-CD4C-07F3ACB9D0BB}"/>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B87BD777-1E8A-350E-7907-F85EEA9EE7D2}"/>
              </a:ext>
            </a:extLst>
          </p:cNvPr>
          <p:cNvSpPr>
            <a:spLocks noGrp="1"/>
          </p:cNvSpPr>
          <p:nvPr>
            <p:ph type="body" sz="quarter" idx="48"/>
          </p:nvPr>
        </p:nvSpPr>
        <p:spPr>
          <a:xfrm>
            <a:off x="6459275" y="1632565"/>
            <a:ext cx="4939670" cy="4333822"/>
          </a:xfrm>
        </p:spPr>
        <p:txBody>
          <a:bodyPr/>
          <a:lstStyle/>
          <a:p>
            <a:pPr algn="l"/>
            <a:r>
              <a:rPr lang="en-GB" sz="2400" b="1" dirty="0">
                <a:hlinkClick r:id="rId3"/>
              </a:rPr>
              <a:t>Faktoren, die die Entwicklung von Start-ups im Bereich der sauberen Technologien beeinflussen: Eine Literaturübersicht</a:t>
            </a:r>
            <a:endParaRPr lang="en-GB" sz="2400" b="1" dirty="0"/>
          </a:p>
          <a:p>
            <a:pPr algn="l"/>
            <a:endParaRPr lang="en-GB" sz="2400" dirty="0">
              <a:solidFill>
                <a:srgbClr val="1F1F1F"/>
              </a:solidFill>
              <a:latin typeface="ElsevierGulliver"/>
            </a:endParaRPr>
          </a:p>
          <a:p>
            <a:pPr algn="l"/>
            <a:r>
              <a:rPr lang="en-GB" sz="2400" b="1" dirty="0">
                <a:hlinkClick r:id="rId4"/>
              </a:rPr>
              <a:t>Kapital aus sauberen Technologien schlagen: Unterstützung einer gerechten Energiewende </a:t>
            </a:r>
            <a:endParaRPr lang="en-GB" sz="2400" b="1" dirty="0"/>
          </a:p>
          <a:p>
            <a:pPr algn="l"/>
            <a:endParaRPr lang="en-GB" sz="2400" dirty="0"/>
          </a:p>
          <a:p>
            <a:r>
              <a:rPr lang="en-GB" sz="2400" b="1" dirty="0">
                <a:hlinkClick r:id="rId5"/>
              </a:rPr>
              <a:t>Erforschung grüner Technologien: </a:t>
            </a:r>
            <a:r>
              <a:rPr lang="en-GB" sz="2400" dirty="0">
                <a:hlinkClick r:id="rId5"/>
              </a:rPr>
              <a:t>Innovationen, Chancen und Herausforderungen der Praxis</a:t>
            </a:r>
            <a:r>
              <a:rPr lang="en-GB" sz="2400" dirty="0"/>
              <a:t>.</a:t>
            </a:r>
            <a:endParaRPr lang="en-GB" dirty="0"/>
          </a:p>
        </p:txBody>
      </p:sp>
    </p:spTree>
    <p:extLst>
      <p:ext uri="{BB962C8B-B14F-4D97-AF65-F5344CB8AC3E}">
        <p14:creationId xmlns:p14="http://schemas.microsoft.com/office/powerpoint/2010/main" val="3142665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US" b="1" dirty="0"/>
              <a:t>SPARSAME INNOVATIONEN</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7</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9597061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5224614" y="30921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72</a:t>
            </a:fld>
            <a:endParaRPr lang="en-US" sz="1291" dirty="0"/>
          </a:p>
        </p:txBody>
      </p:sp>
      <p:pic>
        <p:nvPicPr>
          <p:cNvPr id="9" name="Picture Placeholder 8">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6" y="336367"/>
            <a:ext cx="3766067" cy="776323"/>
          </a:xfrm>
        </p:spPr>
        <p:txBody>
          <a:bodyPr/>
          <a:lstStyle/>
          <a:p>
            <a:r>
              <a:rPr lang="en-GB" dirty="0"/>
              <a:t>EINFÜHRUNG</a:t>
            </a:r>
            <a:endParaRPr lang="en-US"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599591"/>
            <a:ext cx="5160961" cy="4271810"/>
          </a:xfrm>
        </p:spPr>
        <p:txBody>
          <a:bodyPr/>
          <a:lstStyle/>
          <a:p>
            <a:pPr algn="just"/>
            <a:r>
              <a:rPr lang="en-GB" sz="1800" dirty="0" err="1"/>
              <a:t>Sparsame</a:t>
            </a:r>
            <a:r>
              <a:rPr lang="en-GB" sz="1800" dirty="0"/>
              <a:t> Innovationen beziehen sich auf kosteneffektive, ressourceneffiziente Lösungen, die den Wert steigern und gleichzeitig den Ressourcenverbrauch reduzieren. </a:t>
            </a:r>
          </a:p>
          <a:p>
            <a:pPr algn="just"/>
            <a:endParaRPr lang="en-GB" sz="1800" dirty="0"/>
          </a:p>
          <a:p>
            <a:pPr algn="just"/>
            <a:r>
              <a:rPr lang="en-GB" sz="1800" dirty="0"/>
              <a:t>Diese Innovationen sind vor allem in ressourcenarmen Kontexten von Bedeutung und daher sowohl in Entwicklungsländern als auch für nachhaltige Geschäftspraktiken von großem Nutzen. </a:t>
            </a:r>
          </a:p>
          <a:p>
            <a:pPr algn="just"/>
            <a:endParaRPr lang="en-GB" sz="1800" dirty="0"/>
          </a:p>
          <a:p>
            <a:pPr algn="just"/>
            <a:r>
              <a:rPr lang="en-GB" sz="1800" dirty="0"/>
              <a:t>Indem sie sich auf Einfachheit, Erschwinglichkeit und Nachhaltigkeit konzentrieren, können sparsame Innovationen Unternehmen helfen, Wachstum zu erzielen, sozioökonomische Herausforderungen zu bewältigen und zu den Zielen für nachhaltige Entwicklung der Vereinten Nationen (SDGs) beizutragen.</a:t>
            </a:r>
          </a:p>
        </p:txBody>
      </p:sp>
    </p:spTree>
    <p:extLst>
      <p:ext uri="{BB962C8B-B14F-4D97-AF65-F5344CB8AC3E}">
        <p14:creationId xmlns:p14="http://schemas.microsoft.com/office/powerpoint/2010/main" val="38798727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180CBB-1AE3-B9B5-5BE9-8ACA807E3CAB}"/>
              </a:ext>
            </a:extLst>
          </p:cNvPr>
          <p:cNvSpPr>
            <a:spLocks noGrp="1"/>
          </p:cNvSpPr>
          <p:nvPr>
            <p:ph type="body" sz="quarter" idx="30"/>
          </p:nvPr>
        </p:nvSpPr>
        <p:spPr/>
        <p:txBody>
          <a:bodyPr/>
          <a:lstStyle/>
          <a:p>
            <a:r>
              <a:rPr lang="en-IE" dirty="0"/>
              <a:t>GRUNDSÄTZE FÜR SPARSAME INNOVATIONEN</a:t>
            </a:r>
          </a:p>
        </p:txBody>
      </p:sp>
      <p:sp>
        <p:nvSpPr>
          <p:cNvPr id="3" name="Text Placeholder 2">
            <a:extLst>
              <a:ext uri="{FF2B5EF4-FFF2-40B4-BE49-F238E27FC236}">
                <a16:creationId xmlns:a16="http://schemas.microsoft.com/office/drawing/2014/main" id="{FB3F0A68-ED83-2BCE-4835-F603EE56477D}"/>
              </a:ext>
            </a:extLst>
          </p:cNvPr>
          <p:cNvSpPr>
            <a:spLocks noGrp="1"/>
          </p:cNvSpPr>
          <p:nvPr>
            <p:ph type="body" sz="quarter" idx="48"/>
          </p:nvPr>
        </p:nvSpPr>
        <p:spPr/>
        <p:txBody>
          <a:bodyPr/>
          <a:lstStyle/>
          <a:p>
            <a:pPr algn="just"/>
            <a:r>
              <a:rPr lang="en-GB" dirty="0" err="1"/>
              <a:t>Sparsame</a:t>
            </a:r>
            <a:r>
              <a:rPr lang="en-GB" dirty="0"/>
              <a:t> Innovationen konzentrieren sich auf die Entwicklung praktischer, kosteneffizienter Lösungen mit minimalem Ressourceneinsatz. Sie sind so konzipiert, dass sie erschwinglich, einfach und effizient sind und so einem breiten Publikum zugänglich gemacht werden, insbesondere in ressourcenbeschränkten Umgebungen. </a:t>
            </a:r>
          </a:p>
          <a:p>
            <a:pPr algn="just"/>
            <a:endParaRPr lang="en-GB" dirty="0"/>
          </a:p>
          <a:p>
            <a:pPr algn="just"/>
            <a:r>
              <a:rPr lang="en-GB" dirty="0"/>
              <a:t>Durch die Einhaltung der Grundsätze der Erschwinglichkeit, Einfachheit, Ressourceneffizienz, Skalierbarkeit und Nachhaltigkeit helfen frugale Innovationen Unternehmen, Herausforderungen zu bewältigen und eine nachhaltige Entwicklung zu fördern. Das Verständnis dieser Grundsätze ist entscheidend für die Entwicklung von Lösungen, die sowohl wirkungsvoll als auch nachhaltig sind.</a:t>
            </a:r>
            <a:endParaRPr lang="en-IE" dirty="0"/>
          </a:p>
        </p:txBody>
      </p:sp>
      <p:grpSp>
        <p:nvGrpSpPr>
          <p:cNvPr id="4" name="Group 3">
            <a:extLst>
              <a:ext uri="{FF2B5EF4-FFF2-40B4-BE49-F238E27FC236}">
                <a16:creationId xmlns:a16="http://schemas.microsoft.com/office/drawing/2014/main" id="{20AD9A5D-FE72-882F-8F5C-199C89CFD535}"/>
              </a:ext>
            </a:extLst>
          </p:cNvPr>
          <p:cNvGrpSpPr/>
          <p:nvPr/>
        </p:nvGrpSpPr>
        <p:grpSpPr>
          <a:xfrm>
            <a:off x="9810314" y="702764"/>
            <a:ext cx="1094485" cy="1094485"/>
            <a:chOff x="3907180" y="2351193"/>
            <a:chExt cx="889771" cy="889771"/>
          </a:xfrm>
          <a:solidFill>
            <a:srgbClr val="0F486D"/>
          </a:solidFill>
        </p:grpSpPr>
        <p:sp>
          <p:nvSpPr>
            <p:cNvPr id="5" name="Freeform 322">
              <a:extLst>
                <a:ext uri="{FF2B5EF4-FFF2-40B4-BE49-F238E27FC236}">
                  <a16:creationId xmlns:a16="http://schemas.microsoft.com/office/drawing/2014/main" id="{1F52FD9E-E5D3-49BC-2294-B2E60216E02F}"/>
                </a:ext>
              </a:extLst>
            </p:cNvPr>
            <p:cNvSpPr/>
            <p:nvPr/>
          </p:nvSpPr>
          <p:spPr>
            <a:xfrm>
              <a:off x="4263992" y="2615866"/>
              <a:ext cx="177051" cy="177051"/>
            </a:xfrm>
            <a:custGeom>
              <a:avLst/>
              <a:gdLst>
                <a:gd name="connsiteX0" fmla="*/ 177051 w 177051"/>
                <a:gd name="connsiteY0" fmla="*/ 93043 h 177051"/>
                <a:gd name="connsiteX1" fmla="*/ 161694 w 177051"/>
                <a:gd name="connsiteY1" fmla="*/ 100269 h 177051"/>
                <a:gd name="connsiteX2" fmla="*/ 154468 w 177051"/>
                <a:gd name="connsiteY2" fmla="*/ 109302 h 177051"/>
                <a:gd name="connsiteX3" fmla="*/ 149951 w 177051"/>
                <a:gd name="connsiteY3" fmla="*/ 120142 h 177051"/>
                <a:gd name="connsiteX4" fmla="*/ 149048 w 177051"/>
                <a:gd name="connsiteY4" fmla="*/ 131885 h 177051"/>
                <a:gd name="connsiteX5" fmla="*/ 154468 w 177051"/>
                <a:gd name="connsiteY5" fmla="*/ 148145 h 177051"/>
                <a:gd name="connsiteX6" fmla="*/ 148145 w 177051"/>
                <a:gd name="connsiteY6" fmla="*/ 154468 h 177051"/>
                <a:gd name="connsiteX7" fmla="*/ 131885 w 177051"/>
                <a:gd name="connsiteY7" fmla="*/ 149048 h 177051"/>
                <a:gd name="connsiteX8" fmla="*/ 120142 w 177051"/>
                <a:gd name="connsiteY8" fmla="*/ 149952 h 177051"/>
                <a:gd name="connsiteX9" fmla="*/ 109302 w 177051"/>
                <a:gd name="connsiteY9" fmla="*/ 154468 h 177051"/>
                <a:gd name="connsiteX10" fmla="*/ 100269 w 177051"/>
                <a:gd name="connsiteY10" fmla="*/ 161695 h 177051"/>
                <a:gd name="connsiteX11" fmla="*/ 93042 w 177051"/>
                <a:gd name="connsiteY11" fmla="*/ 177051 h 177051"/>
                <a:gd name="connsiteX12" fmla="*/ 84009 w 177051"/>
                <a:gd name="connsiteY12" fmla="*/ 177051 h 177051"/>
                <a:gd name="connsiteX13" fmla="*/ 76782 w 177051"/>
                <a:gd name="connsiteY13" fmla="*/ 161695 h 177051"/>
                <a:gd name="connsiteX14" fmla="*/ 67749 w 177051"/>
                <a:gd name="connsiteY14" fmla="*/ 154468 h 177051"/>
                <a:gd name="connsiteX15" fmla="*/ 56909 w 177051"/>
                <a:gd name="connsiteY15" fmla="*/ 149952 h 177051"/>
                <a:gd name="connsiteX16" fmla="*/ 45166 w 177051"/>
                <a:gd name="connsiteY16" fmla="*/ 149048 h 177051"/>
                <a:gd name="connsiteX17" fmla="*/ 28906 w 177051"/>
                <a:gd name="connsiteY17" fmla="*/ 154468 h 177051"/>
                <a:gd name="connsiteX18" fmla="*/ 22583 w 177051"/>
                <a:gd name="connsiteY18" fmla="*/ 148145 h 177051"/>
                <a:gd name="connsiteX19" fmla="*/ 28003 w 177051"/>
                <a:gd name="connsiteY19" fmla="*/ 131885 h 177051"/>
                <a:gd name="connsiteX20" fmla="*/ 27100 w 177051"/>
                <a:gd name="connsiteY20" fmla="*/ 120142 h 177051"/>
                <a:gd name="connsiteX21" fmla="*/ 22583 w 177051"/>
                <a:gd name="connsiteY21" fmla="*/ 109302 h 177051"/>
                <a:gd name="connsiteX22" fmla="*/ 15356 w 177051"/>
                <a:gd name="connsiteY22" fmla="*/ 100269 h 177051"/>
                <a:gd name="connsiteX23" fmla="*/ 0 w 177051"/>
                <a:gd name="connsiteY23" fmla="*/ 93043 h 177051"/>
                <a:gd name="connsiteX24" fmla="*/ 0 w 177051"/>
                <a:gd name="connsiteY24" fmla="*/ 84009 h 177051"/>
                <a:gd name="connsiteX25" fmla="*/ 15356 w 177051"/>
                <a:gd name="connsiteY25" fmla="*/ 76782 h 177051"/>
                <a:gd name="connsiteX26" fmla="*/ 22583 w 177051"/>
                <a:gd name="connsiteY26" fmla="*/ 67749 h 177051"/>
                <a:gd name="connsiteX27" fmla="*/ 27100 w 177051"/>
                <a:gd name="connsiteY27" fmla="*/ 56910 h 177051"/>
                <a:gd name="connsiteX28" fmla="*/ 28003 w 177051"/>
                <a:gd name="connsiteY28" fmla="*/ 45166 h 177051"/>
                <a:gd name="connsiteX29" fmla="*/ 22583 w 177051"/>
                <a:gd name="connsiteY29" fmla="*/ 28906 h 177051"/>
                <a:gd name="connsiteX30" fmla="*/ 28906 w 177051"/>
                <a:gd name="connsiteY30" fmla="*/ 22583 h 177051"/>
                <a:gd name="connsiteX31" fmla="*/ 45166 w 177051"/>
                <a:gd name="connsiteY31" fmla="*/ 28003 h 177051"/>
                <a:gd name="connsiteX32" fmla="*/ 56909 w 177051"/>
                <a:gd name="connsiteY32" fmla="*/ 27100 h 177051"/>
                <a:gd name="connsiteX33" fmla="*/ 67749 w 177051"/>
                <a:gd name="connsiteY33" fmla="*/ 22583 h 177051"/>
                <a:gd name="connsiteX34" fmla="*/ 76782 w 177051"/>
                <a:gd name="connsiteY34" fmla="*/ 15357 h 177051"/>
                <a:gd name="connsiteX35" fmla="*/ 84009 w 177051"/>
                <a:gd name="connsiteY35" fmla="*/ 0 h 177051"/>
                <a:gd name="connsiteX36" fmla="*/ 93042 w 177051"/>
                <a:gd name="connsiteY36" fmla="*/ 0 h 177051"/>
                <a:gd name="connsiteX37" fmla="*/ 100269 w 177051"/>
                <a:gd name="connsiteY37" fmla="*/ 15357 h 177051"/>
                <a:gd name="connsiteX38" fmla="*/ 109302 w 177051"/>
                <a:gd name="connsiteY38" fmla="*/ 22583 h 177051"/>
                <a:gd name="connsiteX39" fmla="*/ 120142 w 177051"/>
                <a:gd name="connsiteY39" fmla="*/ 27100 h 177051"/>
                <a:gd name="connsiteX40" fmla="*/ 131885 w 177051"/>
                <a:gd name="connsiteY40" fmla="*/ 28003 h 177051"/>
                <a:gd name="connsiteX41" fmla="*/ 148145 w 177051"/>
                <a:gd name="connsiteY41" fmla="*/ 22583 h 177051"/>
                <a:gd name="connsiteX42" fmla="*/ 154468 w 177051"/>
                <a:gd name="connsiteY42" fmla="*/ 28906 h 177051"/>
                <a:gd name="connsiteX43" fmla="*/ 149048 w 177051"/>
                <a:gd name="connsiteY43" fmla="*/ 45166 h 177051"/>
                <a:gd name="connsiteX44" fmla="*/ 149951 w 177051"/>
                <a:gd name="connsiteY44" fmla="*/ 56910 h 177051"/>
                <a:gd name="connsiteX45" fmla="*/ 154468 w 177051"/>
                <a:gd name="connsiteY45" fmla="*/ 67749 h 177051"/>
                <a:gd name="connsiteX46" fmla="*/ 161694 w 177051"/>
                <a:gd name="connsiteY46" fmla="*/ 76782 h 177051"/>
                <a:gd name="connsiteX47" fmla="*/ 177051 w 177051"/>
                <a:gd name="connsiteY47" fmla="*/ 84009 h 177051"/>
                <a:gd name="connsiteX48" fmla="*/ 177051 w 177051"/>
                <a:gd name="connsiteY48" fmla="*/ 93043 h 177051"/>
                <a:gd name="connsiteX49" fmla="*/ 177051 w 177051"/>
                <a:gd name="connsiteY49" fmla="*/ 93043 h 1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77051" h="177051">
                  <a:moveTo>
                    <a:pt x="177051" y="93043"/>
                  </a:moveTo>
                  <a:lnTo>
                    <a:pt x="161694" y="100269"/>
                  </a:lnTo>
                  <a:cubicBezTo>
                    <a:pt x="158081" y="102076"/>
                    <a:pt x="155371" y="105689"/>
                    <a:pt x="154468" y="109302"/>
                  </a:cubicBezTo>
                  <a:cubicBezTo>
                    <a:pt x="153565" y="112915"/>
                    <a:pt x="151758" y="116529"/>
                    <a:pt x="149951" y="120142"/>
                  </a:cubicBezTo>
                  <a:cubicBezTo>
                    <a:pt x="148145" y="123755"/>
                    <a:pt x="148145" y="127369"/>
                    <a:pt x="149048" y="131885"/>
                  </a:cubicBezTo>
                  <a:lnTo>
                    <a:pt x="154468" y="148145"/>
                  </a:lnTo>
                  <a:cubicBezTo>
                    <a:pt x="152661" y="149952"/>
                    <a:pt x="149951" y="152662"/>
                    <a:pt x="148145" y="154468"/>
                  </a:cubicBezTo>
                  <a:lnTo>
                    <a:pt x="131885" y="149048"/>
                  </a:lnTo>
                  <a:cubicBezTo>
                    <a:pt x="128272" y="148145"/>
                    <a:pt x="123755" y="148145"/>
                    <a:pt x="120142" y="149952"/>
                  </a:cubicBezTo>
                  <a:cubicBezTo>
                    <a:pt x="116528" y="151758"/>
                    <a:pt x="112915" y="153565"/>
                    <a:pt x="109302" y="154468"/>
                  </a:cubicBezTo>
                  <a:cubicBezTo>
                    <a:pt x="105689" y="155371"/>
                    <a:pt x="102075" y="158081"/>
                    <a:pt x="100269" y="161695"/>
                  </a:cubicBezTo>
                  <a:lnTo>
                    <a:pt x="93042" y="177051"/>
                  </a:lnTo>
                  <a:lnTo>
                    <a:pt x="84009" y="177051"/>
                  </a:lnTo>
                  <a:lnTo>
                    <a:pt x="76782" y="161695"/>
                  </a:lnTo>
                  <a:cubicBezTo>
                    <a:pt x="74976" y="158081"/>
                    <a:pt x="71362" y="155371"/>
                    <a:pt x="67749" y="154468"/>
                  </a:cubicBezTo>
                  <a:cubicBezTo>
                    <a:pt x="64136" y="153565"/>
                    <a:pt x="60523" y="151758"/>
                    <a:pt x="56909" y="149952"/>
                  </a:cubicBezTo>
                  <a:cubicBezTo>
                    <a:pt x="53296" y="148145"/>
                    <a:pt x="49683" y="148145"/>
                    <a:pt x="45166" y="149048"/>
                  </a:cubicBezTo>
                  <a:lnTo>
                    <a:pt x="28906" y="154468"/>
                  </a:lnTo>
                  <a:cubicBezTo>
                    <a:pt x="27100" y="152662"/>
                    <a:pt x="24390" y="149952"/>
                    <a:pt x="22583" y="148145"/>
                  </a:cubicBezTo>
                  <a:lnTo>
                    <a:pt x="28003" y="131885"/>
                  </a:lnTo>
                  <a:cubicBezTo>
                    <a:pt x="28906" y="128272"/>
                    <a:pt x="28906" y="123755"/>
                    <a:pt x="27100" y="120142"/>
                  </a:cubicBezTo>
                  <a:cubicBezTo>
                    <a:pt x="25293" y="116529"/>
                    <a:pt x="23486" y="112915"/>
                    <a:pt x="22583" y="109302"/>
                  </a:cubicBezTo>
                  <a:cubicBezTo>
                    <a:pt x="21680" y="105689"/>
                    <a:pt x="18970" y="102076"/>
                    <a:pt x="15356" y="100269"/>
                  </a:cubicBezTo>
                  <a:lnTo>
                    <a:pt x="0" y="93043"/>
                  </a:lnTo>
                  <a:lnTo>
                    <a:pt x="0" y="84009"/>
                  </a:lnTo>
                  <a:lnTo>
                    <a:pt x="15356" y="76782"/>
                  </a:lnTo>
                  <a:cubicBezTo>
                    <a:pt x="18970" y="74976"/>
                    <a:pt x="21680" y="71363"/>
                    <a:pt x="22583" y="67749"/>
                  </a:cubicBezTo>
                  <a:cubicBezTo>
                    <a:pt x="23486" y="64136"/>
                    <a:pt x="25293" y="60523"/>
                    <a:pt x="27100" y="56910"/>
                  </a:cubicBezTo>
                  <a:cubicBezTo>
                    <a:pt x="28906" y="53296"/>
                    <a:pt x="28906" y="49683"/>
                    <a:pt x="28003" y="45166"/>
                  </a:cubicBezTo>
                  <a:lnTo>
                    <a:pt x="22583" y="28906"/>
                  </a:lnTo>
                  <a:cubicBezTo>
                    <a:pt x="24390" y="27100"/>
                    <a:pt x="27100" y="24390"/>
                    <a:pt x="28906" y="22583"/>
                  </a:cubicBezTo>
                  <a:lnTo>
                    <a:pt x="45166" y="28003"/>
                  </a:lnTo>
                  <a:cubicBezTo>
                    <a:pt x="48779" y="28906"/>
                    <a:pt x="53296" y="28906"/>
                    <a:pt x="56909" y="27100"/>
                  </a:cubicBezTo>
                  <a:cubicBezTo>
                    <a:pt x="60523" y="25293"/>
                    <a:pt x="64136" y="23487"/>
                    <a:pt x="67749" y="22583"/>
                  </a:cubicBezTo>
                  <a:cubicBezTo>
                    <a:pt x="71362" y="21680"/>
                    <a:pt x="74976" y="18970"/>
                    <a:pt x="76782" y="15357"/>
                  </a:cubicBezTo>
                  <a:lnTo>
                    <a:pt x="84009" y="0"/>
                  </a:lnTo>
                  <a:lnTo>
                    <a:pt x="93042" y="0"/>
                  </a:lnTo>
                  <a:lnTo>
                    <a:pt x="100269" y="15357"/>
                  </a:lnTo>
                  <a:cubicBezTo>
                    <a:pt x="102075" y="18970"/>
                    <a:pt x="105689" y="21680"/>
                    <a:pt x="109302" y="22583"/>
                  </a:cubicBezTo>
                  <a:cubicBezTo>
                    <a:pt x="112915" y="23487"/>
                    <a:pt x="116528" y="25293"/>
                    <a:pt x="120142" y="27100"/>
                  </a:cubicBezTo>
                  <a:cubicBezTo>
                    <a:pt x="123755" y="28906"/>
                    <a:pt x="127368" y="28906"/>
                    <a:pt x="131885" y="28003"/>
                  </a:cubicBezTo>
                  <a:lnTo>
                    <a:pt x="148145" y="22583"/>
                  </a:lnTo>
                  <a:cubicBezTo>
                    <a:pt x="149951" y="24390"/>
                    <a:pt x="152661" y="27100"/>
                    <a:pt x="154468" y="28906"/>
                  </a:cubicBezTo>
                  <a:lnTo>
                    <a:pt x="149048" y="45166"/>
                  </a:lnTo>
                  <a:cubicBezTo>
                    <a:pt x="148145" y="48780"/>
                    <a:pt x="148145" y="53296"/>
                    <a:pt x="149951" y="56910"/>
                  </a:cubicBezTo>
                  <a:cubicBezTo>
                    <a:pt x="151758" y="60523"/>
                    <a:pt x="153565" y="64136"/>
                    <a:pt x="154468" y="67749"/>
                  </a:cubicBezTo>
                  <a:cubicBezTo>
                    <a:pt x="155371" y="71363"/>
                    <a:pt x="158081" y="74976"/>
                    <a:pt x="161694" y="76782"/>
                  </a:cubicBezTo>
                  <a:lnTo>
                    <a:pt x="177051" y="84009"/>
                  </a:lnTo>
                  <a:lnTo>
                    <a:pt x="177051" y="93043"/>
                  </a:lnTo>
                  <a:lnTo>
                    <a:pt x="177051" y="93043"/>
                  </a:lnTo>
                  <a:close/>
                </a:path>
              </a:pathLst>
            </a:custGeom>
            <a:solidFill>
              <a:srgbClr val="F99F27"/>
            </a:solidFill>
            <a:ln w="9028" cap="flat">
              <a:noFill/>
              <a:prstDash val="solid"/>
              <a:miter/>
            </a:ln>
          </p:spPr>
          <p:txBody>
            <a:bodyPr rtlCol="0" anchor="ctr"/>
            <a:lstStyle/>
            <a:p>
              <a:endParaRPr lang="en-US"/>
            </a:p>
          </p:txBody>
        </p:sp>
        <p:grpSp>
          <p:nvGrpSpPr>
            <p:cNvPr id="6" name="Graphic 2">
              <a:extLst>
                <a:ext uri="{FF2B5EF4-FFF2-40B4-BE49-F238E27FC236}">
                  <a16:creationId xmlns:a16="http://schemas.microsoft.com/office/drawing/2014/main" id="{A8B87B03-4DFD-800C-ADD0-453362CA4CE2}"/>
                </a:ext>
              </a:extLst>
            </p:cNvPr>
            <p:cNvGrpSpPr/>
            <p:nvPr/>
          </p:nvGrpSpPr>
          <p:grpSpPr>
            <a:xfrm>
              <a:off x="3907180" y="2351193"/>
              <a:ext cx="889771" cy="889771"/>
              <a:chOff x="3907180" y="2351193"/>
              <a:chExt cx="889771" cy="889771"/>
            </a:xfrm>
            <a:grpFill/>
          </p:grpSpPr>
          <p:grpSp>
            <p:nvGrpSpPr>
              <p:cNvPr id="7" name="Graphic 2">
                <a:extLst>
                  <a:ext uri="{FF2B5EF4-FFF2-40B4-BE49-F238E27FC236}">
                    <a16:creationId xmlns:a16="http://schemas.microsoft.com/office/drawing/2014/main" id="{48F64C62-4E3A-5854-6119-06979CBD3BD5}"/>
                  </a:ext>
                </a:extLst>
              </p:cNvPr>
              <p:cNvGrpSpPr/>
              <p:nvPr/>
            </p:nvGrpSpPr>
            <p:grpSpPr>
              <a:xfrm>
                <a:off x="3907180" y="2351193"/>
                <a:ext cx="889771" cy="889771"/>
                <a:chOff x="3907180" y="2351193"/>
                <a:chExt cx="889771" cy="889771"/>
              </a:xfrm>
              <a:grpFill/>
            </p:grpSpPr>
            <p:sp>
              <p:nvSpPr>
                <p:cNvPr id="9" name="Freeform 326">
                  <a:extLst>
                    <a:ext uri="{FF2B5EF4-FFF2-40B4-BE49-F238E27FC236}">
                      <a16:creationId xmlns:a16="http://schemas.microsoft.com/office/drawing/2014/main" id="{91EC0E3D-A65B-0B1A-3698-83587595DEE9}"/>
                    </a:ext>
                  </a:extLst>
                </p:cNvPr>
                <p:cNvSpPr/>
                <p:nvPr/>
              </p:nvSpPr>
              <p:spPr>
                <a:xfrm>
                  <a:off x="4263088" y="2943656"/>
                  <a:ext cx="160962" cy="294598"/>
                </a:xfrm>
                <a:custGeom>
                  <a:avLst/>
                  <a:gdLst>
                    <a:gd name="connsiteX0" fmla="*/ 130982 w 160962"/>
                    <a:gd name="connsiteY0" fmla="*/ 66059 h 294598"/>
                    <a:gd name="connsiteX1" fmla="*/ 130982 w 160962"/>
                    <a:gd name="connsiteY1" fmla="*/ 36249 h 294598"/>
                    <a:gd name="connsiteX2" fmla="*/ 94849 w 160962"/>
                    <a:gd name="connsiteY2" fmla="*/ 1923 h 294598"/>
                    <a:gd name="connsiteX3" fmla="*/ 48779 w 160962"/>
                    <a:gd name="connsiteY3" fmla="*/ 10956 h 294598"/>
                    <a:gd name="connsiteX4" fmla="*/ 29810 w 160962"/>
                    <a:gd name="connsiteY4" fmla="*/ 49799 h 294598"/>
                    <a:gd name="connsiteX5" fmla="*/ 32520 w 160962"/>
                    <a:gd name="connsiteY5" fmla="*/ 65155 h 294598"/>
                    <a:gd name="connsiteX6" fmla="*/ 0 w 160962"/>
                    <a:gd name="connsiteY6" fmla="*/ 106708 h 294598"/>
                    <a:gd name="connsiteX7" fmla="*/ 0 w 160962"/>
                    <a:gd name="connsiteY7" fmla="*/ 191620 h 294598"/>
                    <a:gd name="connsiteX8" fmla="*/ 14453 w 160962"/>
                    <a:gd name="connsiteY8" fmla="*/ 206074 h 294598"/>
                    <a:gd name="connsiteX9" fmla="*/ 14453 w 160962"/>
                    <a:gd name="connsiteY9" fmla="*/ 206074 h 294598"/>
                    <a:gd name="connsiteX10" fmla="*/ 28906 w 160962"/>
                    <a:gd name="connsiteY10" fmla="*/ 206074 h 294598"/>
                    <a:gd name="connsiteX11" fmla="*/ 28906 w 160962"/>
                    <a:gd name="connsiteY11" fmla="*/ 280146 h 294598"/>
                    <a:gd name="connsiteX12" fmla="*/ 43359 w 160962"/>
                    <a:gd name="connsiteY12" fmla="*/ 294599 h 294598"/>
                    <a:gd name="connsiteX13" fmla="*/ 43359 w 160962"/>
                    <a:gd name="connsiteY13" fmla="*/ 294599 h 294598"/>
                    <a:gd name="connsiteX14" fmla="*/ 117432 w 160962"/>
                    <a:gd name="connsiteY14" fmla="*/ 294599 h 294598"/>
                    <a:gd name="connsiteX15" fmla="*/ 131885 w 160962"/>
                    <a:gd name="connsiteY15" fmla="*/ 280146 h 294598"/>
                    <a:gd name="connsiteX16" fmla="*/ 131885 w 160962"/>
                    <a:gd name="connsiteY16" fmla="*/ 280146 h 294598"/>
                    <a:gd name="connsiteX17" fmla="*/ 131885 w 160962"/>
                    <a:gd name="connsiteY17" fmla="*/ 206074 h 294598"/>
                    <a:gd name="connsiteX18" fmla="*/ 146338 w 160962"/>
                    <a:gd name="connsiteY18" fmla="*/ 206074 h 294598"/>
                    <a:gd name="connsiteX19" fmla="*/ 160791 w 160962"/>
                    <a:gd name="connsiteY19" fmla="*/ 191620 h 294598"/>
                    <a:gd name="connsiteX20" fmla="*/ 160791 w 160962"/>
                    <a:gd name="connsiteY20" fmla="*/ 191620 h 294598"/>
                    <a:gd name="connsiteX21" fmla="*/ 160791 w 160962"/>
                    <a:gd name="connsiteY21" fmla="*/ 106708 h 294598"/>
                    <a:gd name="connsiteX22" fmla="*/ 130982 w 160962"/>
                    <a:gd name="connsiteY22" fmla="*/ 66059 h 294598"/>
                    <a:gd name="connsiteX23" fmla="*/ 133692 w 160962"/>
                    <a:gd name="connsiteY23" fmla="*/ 178070 h 294598"/>
                    <a:gd name="connsiteX24" fmla="*/ 119239 w 160962"/>
                    <a:gd name="connsiteY24" fmla="*/ 178070 h 294598"/>
                    <a:gd name="connsiteX25" fmla="*/ 104785 w 160962"/>
                    <a:gd name="connsiteY25" fmla="*/ 192524 h 294598"/>
                    <a:gd name="connsiteX26" fmla="*/ 104785 w 160962"/>
                    <a:gd name="connsiteY26" fmla="*/ 192524 h 294598"/>
                    <a:gd name="connsiteX27" fmla="*/ 104785 w 160962"/>
                    <a:gd name="connsiteY27" fmla="*/ 266596 h 294598"/>
                    <a:gd name="connsiteX28" fmla="*/ 59619 w 160962"/>
                    <a:gd name="connsiteY28" fmla="*/ 266596 h 294598"/>
                    <a:gd name="connsiteX29" fmla="*/ 59619 w 160962"/>
                    <a:gd name="connsiteY29" fmla="*/ 192524 h 294598"/>
                    <a:gd name="connsiteX30" fmla="*/ 45166 w 160962"/>
                    <a:gd name="connsiteY30" fmla="*/ 178070 h 294598"/>
                    <a:gd name="connsiteX31" fmla="*/ 45166 w 160962"/>
                    <a:gd name="connsiteY31" fmla="*/ 178070 h 294598"/>
                    <a:gd name="connsiteX32" fmla="*/ 30713 w 160962"/>
                    <a:gd name="connsiteY32" fmla="*/ 178070 h 294598"/>
                    <a:gd name="connsiteX33" fmla="*/ 30713 w 160962"/>
                    <a:gd name="connsiteY33" fmla="*/ 107611 h 294598"/>
                    <a:gd name="connsiteX34" fmla="*/ 45166 w 160962"/>
                    <a:gd name="connsiteY34" fmla="*/ 94061 h 294598"/>
                    <a:gd name="connsiteX35" fmla="*/ 60523 w 160962"/>
                    <a:gd name="connsiteY35" fmla="*/ 94061 h 294598"/>
                    <a:gd name="connsiteX36" fmla="*/ 74976 w 160962"/>
                    <a:gd name="connsiteY36" fmla="*/ 79608 h 294598"/>
                    <a:gd name="connsiteX37" fmla="*/ 68652 w 160962"/>
                    <a:gd name="connsiteY37" fmla="*/ 67865 h 294598"/>
                    <a:gd name="connsiteX38" fmla="*/ 63233 w 160962"/>
                    <a:gd name="connsiteY38" fmla="*/ 40766 h 294598"/>
                    <a:gd name="connsiteX39" fmla="*/ 67749 w 160962"/>
                    <a:gd name="connsiteY39" fmla="*/ 36249 h 294598"/>
                    <a:gd name="connsiteX40" fmla="*/ 88526 w 160962"/>
                    <a:gd name="connsiteY40" fmla="*/ 32636 h 294598"/>
                    <a:gd name="connsiteX41" fmla="*/ 103882 w 160962"/>
                    <a:gd name="connsiteY41" fmla="*/ 46185 h 294598"/>
                    <a:gd name="connsiteX42" fmla="*/ 95752 w 160962"/>
                    <a:gd name="connsiteY42" fmla="*/ 68769 h 294598"/>
                    <a:gd name="connsiteX43" fmla="*/ 92139 w 160962"/>
                    <a:gd name="connsiteY43" fmla="*/ 89545 h 294598"/>
                    <a:gd name="connsiteX44" fmla="*/ 103882 w 160962"/>
                    <a:gd name="connsiteY44" fmla="*/ 95868 h 294598"/>
                    <a:gd name="connsiteX45" fmla="*/ 119239 w 160962"/>
                    <a:gd name="connsiteY45" fmla="*/ 95868 h 294598"/>
                    <a:gd name="connsiteX46" fmla="*/ 133692 w 160962"/>
                    <a:gd name="connsiteY46" fmla="*/ 109418 h 294598"/>
                    <a:gd name="connsiteX47" fmla="*/ 133692 w 160962"/>
                    <a:gd name="connsiteY47" fmla="*/ 178070 h 29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60962" h="294598">
                      <a:moveTo>
                        <a:pt x="130982" y="66059"/>
                      </a:moveTo>
                      <a:cubicBezTo>
                        <a:pt x="133692" y="56122"/>
                        <a:pt x="134595" y="46185"/>
                        <a:pt x="130982" y="36249"/>
                      </a:cubicBezTo>
                      <a:cubicBezTo>
                        <a:pt x="125562" y="19086"/>
                        <a:pt x="112012" y="6439"/>
                        <a:pt x="94849" y="1923"/>
                      </a:cubicBezTo>
                      <a:cubicBezTo>
                        <a:pt x="78589" y="-2594"/>
                        <a:pt x="61426" y="1019"/>
                        <a:pt x="48779" y="10956"/>
                      </a:cubicBezTo>
                      <a:cubicBezTo>
                        <a:pt x="36133" y="19989"/>
                        <a:pt x="29810" y="34442"/>
                        <a:pt x="29810" y="49799"/>
                      </a:cubicBezTo>
                      <a:cubicBezTo>
                        <a:pt x="29810" y="55219"/>
                        <a:pt x="30713" y="59735"/>
                        <a:pt x="32520" y="65155"/>
                      </a:cubicBezTo>
                      <a:cubicBezTo>
                        <a:pt x="13550" y="70575"/>
                        <a:pt x="903" y="86835"/>
                        <a:pt x="0" y="106708"/>
                      </a:cubicBezTo>
                      <a:lnTo>
                        <a:pt x="0" y="191620"/>
                      </a:lnTo>
                      <a:cubicBezTo>
                        <a:pt x="0" y="199750"/>
                        <a:pt x="6323" y="206074"/>
                        <a:pt x="14453" y="206074"/>
                      </a:cubicBezTo>
                      <a:cubicBezTo>
                        <a:pt x="14453" y="206074"/>
                        <a:pt x="14453" y="206074"/>
                        <a:pt x="14453" y="206074"/>
                      </a:cubicBezTo>
                      <a:lnTo>
                        <a:pt x="28906" y="206074"/>
                      </a:lnTo>
                      <a:lnTo>
                        <a:pt x="28906" y="280146"/>
                      </a:lnTo>
                      <a:cubicBezTo>
                        <a:pt x="28906" y="288276"/>
                        <a:pt x="35230" y="294599"/>
                        <a:pt x="43359" y="294599"/>
                      </a:cubicBezTo>
                      <a:cubicBezTo>
                        <a:pt x="43359" y="294599"/>
                        <a:pt x="43359" y="294599"/>
                        <a:pt x="43359" y="294599"/>
                      </a:cubicBezTo>
                      <a:lnTo>
                        <a:pt x="117432" y="294599"/>
                      </a:lnTo>
                      <a:cubicBezTo>
                        <a:pt x="125562" y="294599"/>
                        <a:pt x="131885" y="288276"/>
                        <a:pt x="131885" y="280146"/>
                      </a:cubicBezTo>
                      <a:cubicBezTo>
                        <a:pt x="131885" y="280146"/>
                        <a:pt x="131885" y="280146"/>
                        <a:pt x="131885" y="280146"/>
                      </a:cubicBezTo>
                      <a:lnTo>
                        <a:pt x="131885" y="206074"/>
                      </a:lnTo>
                      <a:lnTo>
                        <a:pt x="146338" y="206074"/>
                      </a:lnTo>
                      <a:cubicBezTo>
                        <a:pt x="154468" y="206074"/>
                        <a:pt x="160791" y="199750"/>
                        <a:pt x="160791" y="191620"/>
                      </a:cubicBezTo>
                      <a:cubicBezTo>
                        <a:pt x="160791" y="191620"/>
                        <a:pt x="160791" y="191620"/>
                        <a:pt x="160791" y="191620"/>
                      </a:cubicBezTo>
                      <a:lnTo>
                        <a:pt x="160791" y="106708"/>
                      </a:lnTo>
                      <a:cubicBezTo>
                        <a:pt x="162598" y="88642"/>
                        <a:pt x="149951" y="71478"/>
                        <a:pt x="130982" y="66059"/>
                      </a:cubicBezTo>
                      <a:close/>
                      <a:moveTo>
                        <a:pt x="133692" y="178070"/>
                      </a:moveTo>
                      <a:lnTo>
                        <a:pt x="119239" y="178070"/>
                      </a:lnTo>
                      <a:cubicBezTo>
                        <a:pt x="111109" y="178070"/>
                        <a:pt x="104785" y="184394"/>
                        <a:pt x="104785" y="192524"/>
                      </a:cubicBezTo>
                      <a:cubicBezTo>
                        <a:pt x="104785" y="192524"/>
                        <a:pt x="104785" y="192524"/>
                        <a:pt x="104785" y="192524"/>
                      </a:cubicBezTo>
                      <a:lnTo>
                        <a:pt x="104785" y="266596"/>
                      </a:lnTo>
                      <a:lnTo>
                        <a:pt x="59619" y="266596"/>
                      </a:lnTo>
                      <a:lnTo>
                        <a:pt x="59619" y="192524"/>
                      </a:lnTo>
                      <a:cubicBezTo>
                        <a:pt x="59619" y="184394"/>
                        <a:pt x="53296" y="178070"/>
                        <a:pt x="45166" y="178070"/>
                      </a:cubicBezTo>
                      <a:cubicBezTo>
                        <a:pt x="45166" y="178070"/>
                        <a:pt x="45166" y="178070"/>
                        <a:pt x="45166" y="178070"/>
                      </a:cubicBezTo>
                      <a:lnTo>
                        <a:pt x="30713" y="178070"/>
                      </a:lnTo>
                      <a:lnTo>
                        <a:pt x="30713" y="107611"/>
                      </a:lnTo>
                      <a:cubicBezTo>
                        <a:pt x="30713" y="99482"/>
                        <a:pt x="37940" y="94061"/>
                        <a:pt x="45166" y="94061"/>
                      </a:cubicBezTo>
                      <a:lnTo>
                        <a:pt x="60523" y="94061"/>
                      </a:lnTo>
                      <a:cubicBezTo>
                        <a:pt x="68652" y="94061"/>
                        <a:pt x="74976" y="87738"/>
                        <a:pt x="74976" y="79608"/>
                      </a:cubicBezTo>
                      <a:cubicBezTo>
                        <a:pt x="74976" y="75092"/>
                        <a:pt x="72266" y="70575"/>
                        <a:pt x="68652" y="67865"/>
                      </a:cubicBezTo>
                      <a:cubicBezTo>
                        <a:pt x="59619" y="61542"/>
                        <a:pt x="56909" y="49799"/>
                        <a:pt x="63233" y="40766"/>
                      </a:cubicBezTo>
                      <a:cubicBezTo>
                        <a:pt x="64136" y="38959"/>
                        <a:pt x="65942" y="37152"/>
                        <a:pt x="67749" y="36249"/>
                      </a:cubicBezTo>
                      <a:cubicBezTo>
                        <a:pt x="74072" y="31733"/>
                        <a:pt x="81299" y="29926"/>
                        <a:pt x="88526" y="32636"/>
                      </a:cubicBezTo>
                      <a:cubicBezTo>
                        <a:pt x="95752" y="34442"/>
                        <a:pt x="101172" y="39862"/>
                        <a:pt x="103882" y="46185"/>
                      </a:cubicBezTo>
                      <a:cubicBezTo>
                        <a:pt x="106592" y="54316"/>
                        <a:pt x="102979" y="63349"/>
                        <a:pt x="95752" y="68769"/>
                      </a:cubicBezTo>
                      <a:cubicBezTo>
                        <a:pt x="89429" y="73285"/>
                        <a:pt x="87622" y="83221"/>
                        <a:pt x="92139" y="89545"/>
                      </a:cubicBezTo>
                      <a:cubicBezTo>
                        <a:pt x="94849" y="93158"/>
                        <a:pt x="99365" y="95868"/>
                        <a:pt x="103882" y="95868"/>
                      </a:cubicBezTo>
                      <a:lnTo>
                        <a:pt x="119239" y="95868"/>
                      </a:lnTo>
                      <a:cubicBezTo>
                        <a:pt x="127368" y="95868"/>
                        <a:pt x="133692" y="101288"/>
                        <a:pt x="133692" y="109418"/>
                      </a:cubicBezTo>
                      <a:lnTo>
                        <a:pt x="133692" y="178070"/>
                      </a:lnTo>
                      <a:close/>
                    </a:path>
                  </a:pathLst>
                </a:custGeom>
                <a:grpFill/>
                <a:ln w="9028" cap="flat">
                  <a:noFill/>
                  <a:prstDash val="solid"/>
                  <a:miter/>
                </a:ln>
              </p:spPr>
              <p:txBody>
                <a:bodyPr rtlCol="0" anchor="ctr"/>
                <a:lstStyle/>
                <a:p>
                  <a:endParaRPr lang="en-US"/>
                </a:p>
              </p:txBody>
            </p:sp>
            <p:sp>
              <p:nvSpPr>
                <p:cNvPr id="10" name="Freeform 327">
                  <a:extLst>
                    <a:ext uri="{FF2B5EF4-FFF2-40B4-BE49-F238E27FC236}">
                      <a16:creationId xmlns:a16="http://schemas.microsoft.com/office/drawing/2014/main" id="{41BC4771-8078-8314-A95E-2A9C81335C6E}"/>
                    </a:ext>
                  </a:extLst>
                </p:cNvPr>
                <p:cNvSpPr/>
                <p:nvPr/>
              </p:nvSpPr>
              <p:spPr>
                <a:xfrm>
                  <a:off x="3907180" y="3003330"/>
                  <a:ext cx="267383" cy="237634"/>
                </a:xfrm>
                <a:custGeom>
                  <a:avLst/>
                  <a:gdLst>
                    <a:gd name="connsiteX0" fmla="*/ 267383 w 267383"/>
                    <a:gd name="connsiteY0" fmla="*/ 14514 h 237634"/>
                    <a:gd name="connsiteX1" fmla="*/ 252930 w 267383"/>
                    <a:gd name="connsiteY1" fmla="*/ 61 h 237634"/>
                    <a:gd name="connsiteX2" fmla="*/ 149951 w 267383"/>
                    <a:gd name="connsiteY2" fmla="*/ 29871 h 237634"/>
                    <a:gd name="connsiteX3" fmla="*/ 133692 w 267383"/>
                    <a:gd name="connsiteY3" fmla="*/ 51551 h 237634"/>
                    <a:gd name="connsiteX4" fmla="*/ 117432 w 267383"/>
                    <a:gd name="connsiteY4" fmla="*/ 29871 h 237634"/>
                    <a:gd name="connsiteX5" fmla="*/ 14453 w 267383"/>
                    <a:gd name="connsiteY5" fmla="*/ 61 h 237634"/>
                    <a:gd name="connsiteX6" fmla="*/ 0 w 267383"/>
                    <a:gd name="connsiteY6" fmla="*/ 14514 h 237634"/>
                    <a:gd name="connsiteX7" fmla="*/ 30713 w 267383"/>
                    <a:gd name="connsiteY7" fmla="*/ 118396 h 237634"/>
                    <a:gd name="connsiteX8" fmla="*/ 118335 w 267383"/>
                    <a:gd name="connsiteY8" fmla="*/ 148206 h 237634"/>
                    <a:gd name="connsiteX9" fmla="*/ 118335 w 267383"/>
                    <a:gd name="connsiteY9" fmla="*/ 237635 h 237634"/>
                    <a:gd name="connsiteX10" fmla="*/ 148145 w 267383"/>
                    <a:gd name="connsiteY10" fmla="*/ 237635 h 237634"/>
                    <a:gd name="connsiteX11" fmla="*/ 148145 w 267383"/>
                    <a:gd name="connsiteY11" fmla="*/ 148206 h 237634"/>
                    <a:gd name="connsiteX12" fmla="*/ 235767 w 267383"/>
                    <a:gd name="connsiteY12" fmla="*/ 118396 h 237634"/>
                    <a:gd name="connsiteX13" fmla="*/ 267383 w 267383"/>
                    <a:gd name="connsiteY13" fmla="*/ 14514 h 237634"/>
                    <a:gd name="connsiteX14" fmla="*/ 51489 w 267383"/>
                    <a:gd name="connsiteY14" fmla="*/ 97620 h 237634"/>
                    <a:gd name="connsiteX15" fmla="*/ 29810 w 267383"/>
                    <a:gd name="connsiteY15" fmla="*/ 29871 h 237634"/>
                    <a:gd name="connsiteX16" fmla="*/ 96655 w 267383"/>
                    <a:gd name="connsiteY16" fmla="*/ 50647 h 237634"/>
                    <a:gd name="connsiteX17" fmla="*/ 96655 w 267383"/>
                    <a:gd name="connsiteY17" fmla="*/ 50647 h 237634"/>
                    <a:gd name="connsiteX18" fmla="*/ 118335 w 267383"/>
                    <a:gd name="connsiteY18" fmla="*/ 118396 h 237634"/>
                    <a:gd name="connsiteX19" fmla="*/ 51489 w 267383"/>
                    <a:gd name="connsiteY19" fmla="*/ 97620 h 237634"/>
                    <a:gd name="connsiteX20" fmla="*/ 149048 w 267383"/>
                    <a:gd name="connsiteY20" fmla="*/ 118396 h 237634"/>
                    <a:gd name="connsiteX21" fmla="*/ 170728 w 267383"/>
                    <a:gd name="connsiteY21" fmla="*/ 50647 h 237634"/>
                    <a:gd name="connsiteX22" fmla="*/ 170728 w 267383"/>
                    <a:gd name="connsiteY22" fmla="*/ 50647 h 237634"/>
                    <a:gd name="connsiteX23" fmla="*/ 237574 w 267383"/>
                    <a:gd name="connsiteY23" fmla="*/ 29871 h 237634"/>
                    <a:gd name="connsiteX24" fmla="*/ 215894 w 267383"/>
                    <a:gd name="connsiteY24" fmla="*/ 97620 h 237634"/>
                    <a:gd name="connsiteX25" fmla="*/ 149048 w 267383"/>
                    <a:gd name="connsiteY25" fmla="*/ 118396 h 23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383" h="237634">
                      <a:moveTo>
                        <a:pt x="267383" y="14514"/>
                      </a:moveTo>
                      <a:cubicBezTo>
                        <a:pt x="267383" y="6385"/>
                        <a:pt x="261060" y="61"/>
                        <a:pt x="252930" y="61"/>
                      </a:cubicBezTo>
                      <a:cubicBezTo>
                        <a:pt x="204151" y="-842"/>
                        <a:pt x="171631" y="8191"/>
                        <a:pt x="149951" y="29871"/>
                      </a:cubicBezTo>
                      <a:cubicBezTo>
                        <a:pt x="143628" y="36194"/>
                        <a:pt x="138208" y="43421"/>
                        <a:pt x="133692" y="51551"/>
                      </a:cubicBezTo>
                      <a:cubicBezTo>
                        <a:pt x="129175" y="43421"/>
                        <a:pt x="124658" y="36194"/>
                        <a:pt x="117432" y="29871"/>
                      </a:cubicBezTo>
                      <a:cubicBezTo>
                        <a:pt x="95752" y="9095"/>
                        <a:pt x="63233" y="-842"/>
                        <a:pt x="14453" y="61"/>
                      </a:cubicBezTo>
                      <a:cubicBezTo>
                        <a:pt x="6323" y="61"/>
                        <a:pt x="0" y="6385"/>
                        <a:pt x="0" y="14514"/>
                      </a:cubicBezTo>
                      <a:cubicBezTo>
                        <a:pt x="0" y="65101"/>
                        <a:pt x="9033" y="96717"/>
                        <a:pt x="30713" y="118396"/>
                      </a:cubicBezTo>
                      <a:cubicBezTo>
                        <a:pt x="49683" y="137366"/>
                        <a:pt x="77686" y="146400"/>
                        <a:pt x="118335" y="148206"/>
                      </a:cubicBezTo>
                      <a:lnTo>
                        <a:pt x="118335" y="237635"/>
                      </a:lnTo>
                      <a:lnTo>
                        <a:pt x="148145" y="237635"/>
                      </a:lnTo>
                      <a:lnTo>
                        <a:pt x="148145" y="148206"/>
                      </a:lnTo>
                      <a:cubicBezTo>
                        <a:pt x="188794" y="147303"/>
                        <a:pt x="216797" y="137366"/>
                        <a:pt x="235767" y="118396"/>
                      </a:cubicBezTo>
                      <a:cubicBezTo>
                        <a:pt x="258350" y="97620"/>
                        <a:pt x="267383" y="65101"/>
                        <a:pt x="267383" y="14514"/>
                      </a:cubicBezTo>
                      <a:close/>
                      <a:moveTo>
                        <a:pt x="51489" y="97620"/>
                      </a:moveTo>
                      <a:cubicBezTo>
                        <a:pt x="37939" y="84070"/>
                        <a:pt x="30713" y="62391"/>
                        <a:pt x="29810" y="29871"/>
                      </a:cubicBezTo>
                      <a:cubicBezTo>
                        <a:pt x="61426" y="30774"/>
                        <a:pt x="83106" y="38001"/>
                        <a:pt x="96655" y="50647"/>
                      </a:cubicBezTo>
                      <a:lnTo>
                        <a:pt x="96655" y="50647"/>
                      </a:lnTo>
                      <a:cubicBezTo>
                        <a:pt x="110205" y="64197"/>
                        <a:pt x="117432" y="85877"/>
                        <a:pt x="118335" y="118396"/>
                      </a:cubicBezTo>
                      <a:cubicBezTo>
                        <a:pt x="86719" y="117493"/>
                        <a:pt x="65039" y="111170"/>
                        <a:pt x="51489" y="97620"/>
                      </a:cubicBezTo>
                      <a:close/>
                      <a:moveTo>
                        <a:pt x="149048" y="118396"/>
                      </a:moveTo>
                      <a:cubicBezTo>
                        <a:pt x="149951" y="85877"/>
                        <a:pt x="157178" y="64197"/>
                        <a:pt x="170728" y="50647"/>
                      </a:cubicBezTo>
                      <a:lnTo>
                        <a:pt x="170728" y="50647"/>
                      </a:lnTo>
                      <a:cubicBezTo>
                        <a:pt x="184278" y="37097"/>
                        <a:pt x="205957" y="30774"/>
                        <a:pt x="237574" y="29871"/>
                      </a:cubicBezTo>
                      <a:cubicBezTo>
                        <a:pt x="236670" y="62391"/>
                        <a:pt x="229444" y="84070"/>
                        <a:pt x="215894" y="97620"/>
                      </a:cubicBezTo>
                      <a:cubicBezTo>
                        <a:pt x="202344" y="111170"/>
                        <a:pt x="180664" y="117493"/>
                        <a:pt x="149048" y="118396"/>
                      </a:cubicBezTo>
                      <a:close/>
                    </a:path>
                  </a:pathLst>
                </a:custGeom>
                <a:grpFill/>
                <a:ln w="9028" cap="flat">
                  <a:noFill/>
                  <a:prstDash val="solid"/>
                  <a:miter/>
                </a:ln>
              </p:spPr>
              <p:txBody>
                <a:bodyPr rtlCol="0" anchor="ctr"/>
                <a:lstStyle/>
                <a:p>
                  <a:endParaRPr lang="en-US"/>
                </a:p>
              </p:txBody>
            </p:sp>
            <p:sp>
              <p:nvSpPr>
                <p:cNvPr id="11" name="Freeform 328">
                  <a:extLst>
                    <a:ext uri="{FF2B5EF4-FFF2-40B4-BE49-F238E27FC236}">
                      <a16:creationId xmlns:a16="http://schemas.microsoft.com/office/drawing/2014/main" id="{3F1643F9-C138-CBC6-B497-28353A86F7DC}"/>
                    </a:ext>
                  </a:extLst>
                </p:cNvPr>
                <p:cNvSpPr/>
                <p:nvPr/>
              </p:nvSpPr>
              <p:spPr>
                <a:xfrm>
                  <a:off x="4308254" y="2662839"/>
                  <a:ext cx="88525" cy="88525"/>
                </a:xfrm>
                <a:custGeom>
                  <a:avLst/>
                  <a:gdLst>
                    <a:gd name="connsiteX0" fmla="*/ 44263 w 88525"/>
                    <a:gd name="connsiteY0" fmla="*/ 0 h 88525"/>
                    <a:gd name="connsiteX1" fmla="*/ 0 w 88525"/>
                    <a:gd name="connsiteY1" fmla="*/ 44263 h 88525"/>
                    <a:gd name="connsiteX2" fmla="*/ 44263 w 88525"/>
                    <a:gd name="connsiteY2" fmla="*/ 88525 h 88525"/>
                    <a:gd name="connsiteX3" fmla="*/ 88526 w 88525"/>
                    <a:gd name="connsiteY3" fmla="*/ 44263 h 88525"/>
                    <a:gd name="connsiteX4" fmla="*/ 44263 w 88525"/>
                    <a:gd name="connsiteY4" fmla="*/ 0 h 88525"/>
                    <a:gd name="connsiteX5" fmla="*/ 44263 w 88525"/>
                    <a:gd name="connsiteY5" fmla="*/ 58716 h 88525"/>
                    <a:gd name="connsiteX6" fmla="*/ 29810 w 88525"/>
                    <a:gd name="connsiteY6" fmla="*/ 44263 h 88525"/>
                    <a:gd name="connsiteX7" fmla="*/ 44263 w 88525"/>
                    <a:gd name="connsiteY7" fmla="*/ 29809 h 88525"/>
                    <a:gd name="connsiteX8" fmla="*/ 58716 w 88525"/>
                    <a:gd name="connsiteY8" fmla="*/ 44263 h 88525"/>
                    <a:gd name="connsiteX9" fmla="*/ 44263 w 88525"/>
                    <a:gd name="connsiteY9" fmla="*/ 5871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0"/>
                      </a:moveTo>
                      <a:cubicBezTo>
                        <a:pt x="19873" y="0"/>
                        <a:pt x="0" y="19873"/>
                        <a:pt x="0" y="44263"/>
                      </a:cubicBezTo>
                      <a:cubicBezTo>
                        <a:pt x="0" y="68653"/>
                        <a:pt x="19873" y="88525"/>
                        <a:pt x="44263" y="88525"/>
                      </a:cubicBezTo>
                      <a:cubicBezTo>
                        <a:pt x="68652" y="88525"/>
                        <a:pt x="88526" y="68653"/>
                        <a:pt x="88526" y="44263"/>
                      </a:cubicBezTo>
                      <a:cubicBezTo>
                        <a:pt x="88526" y="19873"/>
                        <a:pt x="68652" y="0"/>
                        <a:pt x="44263" y="0"/>
                      </a:cubicBezTo>
                      <a:close/>
                      <a:moveTo>
                        <a:pt x="44263" y="58716"/>
                      </a:moveTo>
                      <a:cubicBezTo>
                        <a:pt x="36133" y="58716"/>
                        <a:pt x="29810" y="52393"/>
                        <a:pt x="29810" y="44263"/>
                      </a:cubicBezTo>
                      <a:cubicBezTo>
                        <a:pt x="29810" y="36133"/>
                        <a:pt x="36133" y="29809"/>
                        <a:pt x="44263" y="29809"/>
                      </a:cubicBezTo>
                      <a:cubicBezTo>
                        <a:pt x="52393" y="29809"/>
                        <a:pt x="58716" y="36133"/>
                        <a:pt x="58716" y="44263"/>
                      </a:cubicBezTo>
                      <a:cubicBezTo>
                        <a:pt x="58716" y="52393"/>
                        <a:pt x="52393" y="58716"/>
                        <a:pt x="44263" y="58716"/>
                      </a:cubicBezTo>
                      <a:close/>
                    </a:path>
                  </a:pathLst>
                </a:custGeom>
                <a:grpFill/>
                <a:ln w="9028" cap="flat">
                  <a:noFill/>
                  <a:prstDash val="solid"/>
                  <a:miter/>
                </a:ln>
              </p:spPr>
              <p:txBody>
                <a:bodyPr rtlCol="0" anchor="ctr"/>
                <a:lstStyle/>
                <a:p>
                  <a:endParaRPr lang="en-US"/>
                </a:p>
              </p:txBody>
            </p:sp>
            <p:sp>
              <p:nvSpPr>
                <p:cNvPr id="12" name="Freeform 329">
                  <a:extLst>
                    <a:ext uri="{FF2B5EF4-FFF2-40B4-BE49-F238E27FC236}">
                      <a16:creationId xmlns:a16="http://schemas.microsoft.com/office/drawing/2014/main" id="{C56CCA3F-0A09-C521-F025-3D4580957752}"/>
                    </a:ext>
                  </a:extLst>
                </p:cNvPr>
                <p:cNvSpPr/>
                <p:nvPr/>
              </p:nvSpPr>
              <p:spPr>
                <a:xfrm>
                  <a:off x="4232375" y="2588766"/>
                  <a:ext cx="238476" cy="237573"/>
                </a:xfrm>
                <a:custGeom>
                  <a:avLst/>
                  <a:gdLst>
                    <a:gd name="connsiteX0" fmla="*/ 230347 w 238476"/>
                    <a:gd name="connsiteY0" fmla="*/ 91236 h 237573"/>
                    <a:gd name="connsiteX1" fmla="*/ 212281 w 238476"/>
                    <a:gd name="connsiteY1" fmla="*/ 82203 h 237573"/>
                    <a:gd name="connsiteX2" fmla="*/ 210474 w 238476"/>
                    <a:gd name="connsiteY2" fmla="*/ 78589 h 237573"/>
                    <a:gd name="connsiteX3" fmla="*/ 216797 w 238476"/>
                    <a:gd name="connsiteY3" fmla="*/ 60523 h 237573"/>
                    <a:gd name="connsiteX4" fmla="*/ 214087 w 238476"/>
                    <a:gd name="connsiteY4" fmla="*/ 46973 h 237573"/>
                    <a:gd name="connsiteX5" fmla="*/ 191504 w 238476"/>
                    <a:gd name="connsiteY5" fmla="*/ 24390 h 237573"/>
                    <a:gd name="connsiteX6" fmla="*/ 177954 w 238476"/>
                    <a:gd name="connsiteY6" fmla="*/ 21680 h 237573"/>
                    <a:gd name="connsiteX7" fmla="*/ 159888 w 238476"/>
                    <a:gd name="connsiteY7" fmla="*/ 28003 h 237573"/>
                    <a:gd name="connsiteX8" fmla="*/ 156275 w 238476"/>
                    <a:gd name="connsiteY8" fmla="*/ 26197 h 237573"/>
                    <a:gd name="connsiteX9" fmla="*/ 147241 w 238476"/>
                    <a:gd name="connsiteY9" fmla="*/ 8130 h 237573"/>
                    <a:gd name="connsiteX10" fmla="*/ 133692 w 238476"/>
                    <a:gd name="connsiteY10" fmla="*/ 0 h 237573"/>
                    <a:gd name="connsiteX11" fmla="*/ 105689 w 238476"/>
                    <a:gd name="connsiteY11" fmla="*/ 0 h 237573"/>
                    <a:gd name="connsiteX12" fmla="*/ 92139 w 238476"/>
                    <a:gd name="connsiteY12" fmla="*/ 8130 h 237573"/>
                    <a:gd name="connsiteX13" fmla="*/ 83106 w 238476"/>
                    <a:gd name="connsiteY13" fmla="*/ 26197 h 237573"/>
                    <a:gd name="connsiteX14" fmla="*/ 79492 w 238476"/>
                    <a:gd name="connsiteY14" fmla="*/ 28003 h 237573"/>
                    <a:gd name="connsiteX15" fmla="*/ 61426 w 238476"/>
                    <a:gd name="connsiteY15" fmla="*/ 21680 h 237573"/>
                    <a:gd name="connsiteX16" fmla="*/ 47876 w 238476"/>
                    <a:gd name="connsiteY16" fmla="*/ 24390 h 237573"/>
                    <a:gd name="connsiteX17" fmla="*/ 25293 w 238476"/>
                    <a:gd name="connsiteY17" fmla="*/ 46973 h 237573"/>
                    <a:gd name="connsiteX18" fmla="*/ 22583 w 238476"/>
                    <a:gd name="connsiteY18" fmla="*/ 60523 h 237573"/>
                    <a:gd name="connsiteX19" fmla="*/ 28003 w 238476"/>
                    <a:gd name="connsiteY19" fmla="*/ 78589 h 237573"/>
                    <a:gd name="connsiteX20" fmla="*/ 26196 w 238476"/>
                    <a:gd name="connsiteY20" fmla="*/ 82203 h 237573"/>
                    <a:gd name="connsiteX21" fmla="*/ 8130 w 238476"/>
                    <a:gd name="connsiteY21" fmla="*/ 91236 h 237573"/>
                    <a:gd name="connsiteX22" fmla="*/ 0 w 238476"/>
                    <a:gd name="connsiteY22" fmla="*/ 104786 h 237573"/>
                    <a:gd name="connsiteX23" fmla="*/ 0 w 238476"/>
                    <a:gd name="connsiteY23" fmla="*/ 132788 h 237573"/>
                    <a:gd name="connsiteX24" fmla="*/ 8130 w 238476"/>
                    <a:gd name="connsiteY24" fmla="*/ 146338 h 237573"/>
                    <a:gd name="connsiteX25" fmla="*/ 26196 w 238476"/>
                    <a:gd name="connsiteY25" fmla="*/ 155371 h 237573"/>
                    <a:gd name="connsiteX26" fmla="*/ 28003 w 238476"/>
                    <a:gd name="connsiteY26" fmla="*/ 158985 h 237573"/>
                    <a:gd name="connsiteX27" fmla="*/ 21680 w 238476"/>
                    <a:gd name="connsiteY27" fmla="*/ 177051 h 237573"/>
                    <a:gd name="connsiteX28" fmla="*/ 24390 w 238476"/>
                    <a:gd name="connsiteY28" fmla="*/ 190601 h 237573"/>
                    <a:gd name="connsiteX29" fmla="*/ 46973 w 238476"/>
                    <a:gd name="connsiteY29" fmla="*/ 213184 h 237573"/>
                    <a:gd name="connsiteX30" fmla="*/ 60523 w 238476"/>
                    <a:gd name="connsiteY30" fmla="*/ 215894 h 237573"/>
                    <a:gd name="connsiteX31" fmla="*/ 78589 w 238476"/>
                    <a:gd name="connsiteY31" fmla="*/ 209571 h 237573"/>
                    <a:gd name="connsiteX32" fmla="*/ 82202 w 238476"/>
                    <a:gd name="connsiteY32" fmla="*/ 211377 h 237573"/>
                    <a:gd name="connsiteX33" fmla="*/ 91236 w 238476"/>
                    <a:gd name="connsiteY33" fmla="*/ 229444 h 237573"/>
                    <a:gd name="connsiteX34" fmla="*/ 104785 w 238476"/>
                    <a:gd name="connsiteY34" fmla="*/ 237574 h 237573"/>
                    <a:gd name="connsiteX35" fmla="*/ 132788 w 238476"/>
                    <a:gd name="connsiteY35" fmla="*/ 237574 h 237573"/>
                    <a:gd name="connsiteX36" fmla="*/ 146338 w 238476"/>
                    <a:gd name="connsiteY36" fmla="*/ 229444 h 237573"/>
                    <a:gd name="connsiteX37" fmla="*/ 155371 w 238476"/>
                    <a:gd name="connsiteY37" fmla="*/ 211377 h 237573"/>
                    <a:gd name="connsiteX38" fmla="*/ 158985 w 238476"/>
                    <a:gd name="connsiteY38" fmla="*/ 209571 h 237573"/>
                    <a:gd name="connsiteX39" fmla="*/ 177051 w 238476"/>
                    <a:gd name="connsiteY39" fmla="*/ 215894 h 237573"/>
                    <a:gd name="connsiteX40" fmla="*/ 190601 w 238476"/>
                    <a:gd name="connsiteY40" fmla="*/ 213184 h 237573"/>
                    <a:gd name="connsiteX41" fmla="*/ 213184 w 238476"/>
                    <a:gd name="connsiteY41" fmla="*/ 190601 h 237573"/>
                    <a:gd name="connsiteX42" fmla="*/ 215894 w 238476"/>
                    <a:gd name="connsiteY42" fmla="*/ 177051 h 237573"/>
                    <a:gd name="connsiteX43" fmla="*/ 210474 w 238476"/>
                    <a:gd name="connsiteY43" fmla="*/ 158985 h 237573"/>
                    <a:gd name="connsiteX44" fmla="*/ 212281 w 238476"/>
                    <a:gd name="connsiteY44" fmla="*/ 155371 h 237573"/>
                    <a:gd name="connsiteX45" fmla="*/ 230347 w 238476"/>
                    <a:gd name="connsiteY45" fmla="*/ 146338 h 237573"/>
                    <a:gd name="connsiteX46" fmla="*/ 238477 w 238476"/>
                    <a:gd name="connsiteY46" fmla="*/ 132788 h 237573"/>
                    <a:gd name="connsiteX47" fmla="*/ 238477 w 238476"/>
                    <a:gd name="connsiteY47" fmla="*/ 104786 h 237573"/>
                    <a:gd name="connsiteX48" fmla="*/ 230347 w 238476"/>
                    <a:gd name="connsiteY48" fmla="*/ 91236 h 237573"/>
                    <a:gd name="connsiteX49" fmla="*/ 208667 w 238476"/>
                    <a:gd name="connsiteY49" fmla="*/ 122852 h 237573"/>
                    <a:gd name="connsiteX50" fmla="*/ 193311 w 238476"/>
                    <a:gd name="connsiteY50" fmla="*/ 130079 h 237573"/>
                    <a:gd name="connsiteX51" fmla="*/ 186084 w 238476"/>
                    <a:gd name="connsiteY51" fmla="*/ 139112 h 237573"/>
                    <a:gd name="connsiteX52" fmla="*/ 181568 w 238476"/>
                    <a:gd name="connsiteY52" fmla="*/ 149952 h 237573"/>
                    <a:gd name="connsiteX53" fmla="*/ 180664 w 238476"/>
                    <a:gd name="connsiteY53" fmla="*/ 161695 h 237573"/>
                    <a:gd name="connsiteX54" fmla="*/ 186084 w 238476"/>
                    <a:gd name="connsiteY54" fmla="*/ 177954 h 237573"/>
                    <a:gd name="connsiteX55" fmla="*/ 179761 w 238476"/>
                    <a:gd name="connsiteY55" fmla="*/ 184278 h 237573"/>
                    <a:gd name="connsiteX56" fmla="*/ 163501 w 238476"/>
                    <a:gd name="connsiteY56" fmla="*/ 178858 h 237573"/>
                    <a:gd name="connsiteX57" fmla="*/ 151758 w 238476"/>
                    <a:gd name="connsiteY57" fmla="*/ 179761 h 237573"/>
                    <a:gd name="connsiteX58" fmla="*/ 140918 w 238476"/>
                    <a:gd name="connsiteY58" fmla="*/ 184278 h 237573"/>
                    <a:gd name="connsiteX59" fmla="*/ 131885 w 238476"/>
                    <a:gd name="connsiteY59" fmla="*/ 191504 h 237573"/>
                    <a:gd name="connsiteX60" fmla="*/ 124658 w 238476"/>
                    <a:gd name="connsiteY60" fmla="*/ 206861 h 237573"/>
                    <a:gd name="connsiteX61" fmla="*/ 115625 w 238476"/>
                    <a:gd name="connsiteY61" fmla="*/ 206861 h 237573"/>
                    <a:gd name="connsiteX62" fmla="*/ 108399 w 238476"/>
                    <a:gd name="connsiteY62" fmla="*/ 191504 h 237573"/>
                    <a:gd name="connsiteX63" fmla="*/ 99365 w 238476"/>
                    <a:gd name="connsiteY63" fmla="*/ 184278 h 237573"/>
                    <a:gd name="connsiteX64" fmla="*/ 88526 w 238476"/>
                    <a:gd name="connsiteY64" fmla="*/ 179761 h 237573"/>
                    <a:gd name="connsiteX65" fmla="*/ 76782 w 238476"/>
                    <a:gd name="connsiteY65" fmla="*/ 178858 h 237573"/>
                    <a:gd name="connsiteX66" fmla="*/ 60523 w 238476"/>
                    <a:gd name="connsiteY66" fmla="*/ 184278 h 237573"/>
                    <a:gd name="connsiteX67" fmla="*/ 54199 w 238476"/>
                    <a:gd name="connsiteY67" fmla="*/ 177954 h 237573"/>
                    <a:gd name="connsiteX68" fmla="*/ 59619 w 238476"/>
                    <a:gd name="connsiteY68" fmla="*/ 161695 h 237573"/>
                    <a:gd name="connsiteX69" fmla="*/ 58716 w 238476"/>
                    <a:gd name="connsiteY69" fmla="*/ 149952 h 237573"/>
                    <a:gd name="connsiteX70" fmla="*/ 54199 w 238476"/>
                    <a:gd name="connsiteY70" fmla="*/ 139112 h 237573"/>
                    <a:gd name="connsiteX71" fmla="*/ 46973 w 238476"/>
                    <a:gd name="connsiteY71" fmla="*/ 130079 h 237573"/>
                    <a:gd name="connsiteX72" fmla="*/ 31616 w 238476"/>
                    <a:gd name="connsiteY72" fmla="*/ 122852 h 237573"/>
                    <a:gd name="connsiteX73" fmla="*/ 31616 w 238476"/>
                    <a:gd name="connsiteY73" fmla="*/ 113819 h 237573"/>
                    <a:gd name="connsiteX74" fmla="*/ 46973 w 238476"/>
                    <a:gd name="connsiteY74" fmla="*/ 106592 h 237573"/>
                    <a:gd name="connsiteX75" fmla="*/ 54199 w 238476"/>
                    <a:gd name="connsiteY75" fmla="*/ 97559 h 237573"/>
                    <a:gd name="connsiteX76" fmla="*/ 58716 w 238476"/>
                    <a:gd name="connsiteY76" fmla="*/ 86719 h 237573"/>
                    <a:gd name="connsiteX77" fmla="*/ 59619 w 238476"/>
                    <a:gd name="connsiteY77" fmla="*/ 74976 h 237573"/>
                    <a:gd name="connsiteX78" fmla="*/ 54199 w 238476"/>
                    <a:gd name="connsiteY78" fmla="*/ 58716 h 237573"/>
                    <a:gd name="connsiteX79" fmla="*/ 60523 w 238476"/>
                    <a:gd name="connsiteY79" fmla="*/ 52393 h 237573"/>
                    <a:gd name="connsiteX80" fmla="*/ 76782 w 238476"/>
                    <a:gd name="connsiteY80" fmla="*/ 57813 h 237573"/>
                    <a:gd name="connsiteX81" fmla="*/ 88526 w 238476"/>
                    <a:gd name="connsiteY81" fmla="*/ 56910 h 237573"/>
                    <a:gd name="connsiteX82" fmla="*/ 99365 w 238476"/>
                    <a:gd name="connsiteY82" fmla="*/ 52393 h 237573"/>
                    <a:gd name="connsiteX83" fmla="*/ 108399 w 238476"/>
                    <a:gd name="connsiteY83" fmla="*/ 45166 h 237573"/>
                    <a:gd name="connsiteX84" fmla="*/ 115625 w 238476"/>
                    <a:gd name="connsiteY84" fmla="*/ 29810 h 237573"/>
                    <a:gd name="connsiteX85" fmla="*/ 124658 w 238476"/>
                    <a:gd name="connsiteY85" fmla="*/ 29810 h 237573"/>
                    <a:gd name="connsiteX86" fmla="*/ 131885 w 238476"/>
                    <a:gd name="connsiteY86" fmla="*/ 45166 h 237573"/>
                    <a:gd name="connsiteX87" fmla="*/ 140918 w 238476"/>
                    <a:gd name="connsiteY87" fmla="*/ 52393 h 237573"/>
                    <a:gd name="connsiteX88" fmla="*/ 151758 w 238476"/>
                    <a:gd name="connsiteY88" fmla="*/ 56910 h 237573"/>
                    <a:gd name="connsiteX89" fmla="*/ 163501 w 238476"/>
                    <a:gd name="connsiteY89" fmla="*/ 57813 h 237573"/>
                    <a:gd name="connsiteX90" fmla="*/ 179761 w 238476"/>
                    <a:gd name="connsiteY90" fmla="*/ 52393 h 237573"/>
                    <a:gd name="connsiteX91" fmla="*/ 186084 w 238476"/>
                    <a:gd name="connsiteY91" fmla="*/ 58716 h 237573"/>
                    <a:gd name="connsiteX92" fmla="*/ 180664 w 238476"/>
                    <a:gd name="connsiteY92" fmla="*/ 74976 h 237573"/>
                    <a:gd name="connsiteX93" fmla="*/ 181568 w 238476"/>
                    <a:gd name="connsiteY93" fmla="*/ 86719 h 237573"/>
                    <a:gd name="connsiteX94" fmla="*/ 186084 w 238476"/>
                    <a:gd name="connsiteY94" fmla="*/ 97559 h 237573"/>
                    <a:gd name="connsiteX95" fmla="*/ 193311 w 238476"/>
                    <a:gd name="connsiteY95" fmla="*/ 106592 h 237573"/>
                    <a:gd name="connsiteX96" fmla="*/ 208667 w 238476"/>
                    <a:gd name="connsiteY96" fmla="*/ 113819 h 237573"/>
                    <a:gd name="connsiteX97" fmla="*/ 208667 w 238476"/>
                    <a:gd name="connsiteY97" fmla="*/ 122852 h 237573"/>
                    <a:gd name="connsiteX98" fmla="*/ 208667 w 238476"/>
                    <a:gd name="connsiteY98" fmla="*/ 122852 h 23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38476" h="237573">
                      <a:moveTo>
                        <a:pt x="230347" y="91236"/>
                      </a:moveTo>
                      <a:lnTo>
                        <a:pt x="212281" y="82203"/>
                      </a:lnTo>
                      <a:cubicBezTo>
                        <a:pt x="211377" y="81299"/>
                        <a:pt x="211377" y="79493"/>
                        <a:pt x="210474" y="78589"/>
                      </a:cubicBezTo>
                      <a:lnTo>
                        <a:pt x="216797" y="60523"/>
                      </a:lnTo>
                      <a:cubicBezTo>
                        <a:pt x="218604" y="56006"/>
                        <a:pt x="217701" y="50586"/>
                        <a:pt x="214087" y="46973"/>
                      </a:cubicBezTo>
                      <a:cubicBezTo>
                        <a:pt x="207764" y="38843"/>
                        <a:pt x="199634" y="30713"/>
                        <a:pt x="191504" y="24390"/>
                      </a:cubicBezTo>
                      <a:cubicBezTo>
                        <a:pt x="187891" y="21680"/>
                        <a:pt x="182471" y="20777"/>
                        <a:pt x="177954" y="21680"/>
                      </a:cubicBezTo>
                      <a:lnTo>
                        <a:pt x="159888" y="28003"/>
                      </a:lnTo>
                      <a:cubicBezTo>
                        <a:pt x="158985" y="27100"/>
                        <a:pt x="157178" y="27100"/>
                        <a:pt x="156275" y="26197"/>
                      </a:cubicBezTo>
                      <a:lnTo>
                        <a:pt x="147241" y="8130"/>
                      </a:lnTo>
                      <a:cubicBezTo>
                        <a:pt x="144531" y="2710"/>
                        <a:pt x="140015" y="0"/>
                        <a:pt x="133692" y="0"/>
                      </a:cubicBezTo>
                      <a:lnTo>
                        <a:pt x="105689" y="0"/>
                      </a:lnTo>
                      <a:cubicBezTo>
                        <a:pt x="100269" y="0"/>
                        <a:pt x="94849" y="3614"/>
                        <a:pt x="92139" y="8130"/>
                      </a:cubicBezTo>
                      <a:lnTo>
                        <a:pt x="83106" y="26197"/>
                      </a:lnTo>
                      <a:cubicBezTo>
                        <a:pt x="82202" y="27100"/>
                        <a:pt x="80396" y="27100"/>
                        <a:pt x="79492" y="28003"/>
                      </a:cubicBezTo>
                      <a:lnTo>
                        <a:pt x="61426" y="21680"/>
                      </a:lnTo>
                      <a:cubicBezTo>
                        <a:pt x="56909" y="19873"/>
                        <a:pt x="51489" y="20777"/>
                        <a:pt x="47876" y="24390"/>
                      </a:cubicBezTo>
                      <a:cubicBezTo>
                        <a:pt x="39746" y="30713"/>
                        <a:pt x="31616" y="38843"/>
                        <a:pt x="25293" y="46973"/>
                      </a:cubicBezTo>
                      <a:cubicBezTo>
                        <a:pt x="22583" y="50586"/>
                        <a:pt x="21680" y="56006"/>
                        <a:pt x="22583" y="60523"/>
                      </a:cubicBezTo>
                      <a:lnTo>
                        <a:pt x="28003" y="78589"/>
                      </a:lnTo>
                      <a:cubicBezTo>
                        <a:pt x="27100" y="79493"/>
                        <a:pt x="27100" y="81299"/>
                        <a:pt x="26196" y="82203"/>
                      </a:cubicBezTo>
                      <a:lnTo>
                        <a:pt x="8130" y="91236"/>
                      </a:lnTo>
                      <a:cubicBezTo>
                        <a:pt x="2710" y="93946"/>
                        <a:pt x="0" y="98462"/>
                        <a:pt x="0" y="104786"/>
                      </a:cubicBezTo>
                      <a:lnTo>
                        <a:pt x="0" y="132788"/>
                      </a:lnTo>
                      <a:cubicBezTo>
                        <a:pt x="0" y="138209"/>
                        <a:pt x="3613" y="143628"/>
                        <a:pt x="8130" y="146338"/>
                      </a:cubicBezTo>
                      <a:lnTo>
                        <a:pt x="26196" y="155371"/>
                      </a:lnTo>
                      <a:cubicBezTo>
                        <a:pt x="27100" y="156275"/>
                        <a:pt x="27100" y="158081"/>
                        <a:pt x="28003" y="158985"/>
                      </a:cubicBezTo>
                      <a:lnTo>
                        <a:pt x="21680" y="177051"/>
                      </a:lnTo>
                      <a:cubicBezTo>
                        <a:pt x="19873" y="181568"/>
                        <a:pt x="20776" y="186988"/>
                        <a:pt x="24390" y="190601"/>
                      </a:cubicBezTo>
                      <a:cubicBezTo>
                        <a:pt x="30713" y="198731"/>
                        <a:pt x="38843" y="206861"/>
                        <a:pt x="46973" y="213184"/>
                      </a:cubicBezTo>
                      <a:cubicBezTo>
                        <a:pt x="50586" y="215894"/>
                        <a:pt x="56006" y="216797"/>
                        <a:pt x="60523" y="215894"/>
                      </a:cubicBezTo>
                      <a:lnTo>
                        <a:pt x="78589" y="209571"/>
                      </a:lnTo>
                      <a:cubicBezTo>
                        <a:pt x="79492" y="210474"/>
                        <a:pt x="81299" y="210474"/>
                        <a:pt x="82202" y="211377"/>
                      </a:cubicBezTo>
                      <a:lnTo>
                        <a:pt x="91236" y="229444"/>
                      </a:lnTo>
                      <a:cubicBezTo>
                        <a:pt x="93945" y="234864"/>
                        <a:pt x="98462" y="237574"/>
                        <a:pt x="104785" y="237574"/>
                      </a:cubicBezTo>
                      <a:lnTo>
                        <a:pt x="132788" y="237574"/>
                      </a:lnTo>
                      <a:cubicBezTo>
                        <a:pt x="138208" y="237574"/>
                        <a:pt x="143628" y="233960"/>
                        <a:pt x="146338" y="229444"/>
                      </a:cubicBezTo>
                      <a:lnTo>
                        <a:pt x="155371" y="211377"/>
                      </a:lnTo>
                      <a:cubicBezTo>
                        <a:pt x="156275" y="210474"/>
                        <a:pt x="158081" y="210474"/>
                        <a:pt x="158985" y="209571"/>
                      </a:cubicBezTo>
                      <a:lnTo>
                        <a:pt x="177051" y="215894"/>
                      </a:lnTo>
                      <a:cubicBezTo>
                        <a:pt x="181568" y="217701"/>
                        <a:pt x="186988" y="216797"/>
                        <a:pt x="190601" y="213184"/>
                      </a:cubicBezTo>
                      <a:cubicBezTo>
                        <a:pt x="198731" y="206861"/>
                        <a:pt x="206861" y="198731"/>
                        <a:pt x="213184" y="190601"/>
                      </a:cubicBezTo>
                      <a:cubicBezTo>
                        <a:pt x="215894" y="186988"/>
                        <a:pt x="216797" y="181568"/>
                        <a:pt x="215894" y="177051"/>
                      </a:cubicBezTo>
                      <a:lnTo>
                        <a:pt x="210474" y="158985"/>
                      </a:lnTo>
                      <a:cubicBezTo>
                        <a:pt x="211377" y="158081"/>
                        <a:pt x="211377" y="156275"/>
                        <a:pt x="212281" y="155371"/>
                      </a:cubicBezTo>
                      <a:lnTo>
                        <a:pt x="230347" y="146338"/>
                      </a:lnTo>
                      <a:cubicBezTo>
                        <a:pt x="235767" y="143628"/>
                        <a:pt x="238477" y="139112"/>
                        <a:pt x="238477" y="132788"/>
                      </a:cubicBezTo>
                      <a:lnTo>
                        <a:pt x="238477" y="104786"/>
                      </a:lnTo>
                      <a:cubicBezTo>
                        <a:pt x="238477" y="98462"/>
                        <a:pt x="234864" y="93043"/>
                        <a:pt x="230347" y="91236"/>
                      </a:cubicBezTo>
                      <a:close/>
                      <a:moveTo>
                        <a:pt x="208667" y="122852"/>
                      </a:moveTo>
                      <a:lnTo>
                        <a:pt x="193311" y="130079"/>
                      </a:lnTo>
                      <a:cubicBezTo>
                        <a:pt x="189698" y="131885"/>
                        <a:pt x="186988" y="135498"/>
                        <a:pt x="186084" y="139112"/>
                      </a:cubicBezTo>
                      <a:cubicBezTo>
                        <a:pt x="185181" y="142725"/>
                        <a:pt x="183374" y="146338"/>
                        <a:pt x="181568" y="149952"/>
                      </a:cubicBezTo>
                      <a:cubicBezTo>
                        <a:pt x="179761" y="153565"/>
                        <a:pt x="179761" y="157178"/>
                        <a:pt x="180664" y="161695"/>
                      </a:cubicBezTo>
                      <a:lnTo>
                        <a:pt x="186084" y="177954"/>
                      </a:lnTo>
                      <a:cubicBezTo>
                        <a:pt x="184278" y="179761"/>
                        <a:pt x="181568" y="182471"/>
                        <a:pt x="179761" y="184278"/>
                      </a:cubicBezTo>
                      <a:lnTo>
                        <a:pt x="163501" y="178858"/>
                      </a:lnTo>
                      <a:cubicBezTo>
                        <a:pt x="159888" y="177954"/>
                        <a:pt x="155371" y="177954"/>
                        <a:pt x="151758" y="179761"/>
                      </a:cubicBezTo>
                      <a:cubicBezTo>
                        <a:pt x="148145" y="181568"/>
                        <a:pt x="144531" y="183375"/>
                        <a:pt x="140918" y="184278"/>
                      </a:cubicBezTo>
                      <a:cubicBezTo>
                        <a:pt x="137305" y="185181"/>
                        <a:pt x="133692" y="187891"/>
                        <a:pt x="131885" y="191504"/>
                      </a:cubicBezTo>
                      <a:lnTo>
                        <a:pt x="124658" y="206861"/>
                      </a:lnTo>
                      <a:lnTo>
                        <a:pt x="115625" y="206861"/>
                      </a:lnTo>
                      <a:lnTo>
                        <a:pt x="108399" y="191504"/>
                      </a:lnTo>
                      <a:cubicBezTo>
                        <a:pt x="106592" y="187891"/>
                        <a:pt x="102979" y="185181"/>
                        <a:pt x="99365" y="184278"/>
                      </a:cubicBezTo>
                      <a:cubicBezTo>
                        <a:pt x="95752" y="183375"/>
                        <a:pt x="92139" y="181568"/>
                        <a:pt x="88526" y="179761"/>
                      </a:cubicBezTo>
                      <a:cubicBezTo>
                        <a:pt x="84912" y="177954"/>
                        <a:pt x="81299" y="177954"/>
                        <a:pt x="76782" y="178858"/>
                      </a:cubicBezTo>
                      <a:lnTo>
                        <a:pt x="60523" y="184278"/>
                      </a:lnTo>
                      <a:cubicBezTo>
                        <a:pt x="58716" y="182471"/>
                        <a:pt x="56006" y="179761"/>
                        <a:pt x="54199" y="177954"/>
                      </a:cubicBezTo>
                      <a:lnTo>
                        <a:pt x="59619" y="161695"/>
                      </a:lnTo>
                      <a:cubicBezTo>
                        <a:pt x="60523" y="158081"/>
                        <a:pt x="60523" y="153565"/>
                        <a:pt x="58716" y="149952"/>
                      </a:cubicBezTo>
                      <a:cubicBezTo>
                        <a:pt x="56909" y="146338"/>
                        <a:pt x="55103" y="142725"/>
                        <a:pt x="54199" y="139112"/>
                      </a:cubicBezTo>
                      <a:cubicBezTo>
                        <a:pt x="53296" y="135498"/>
                        <a:pt x="50586" y="131885"/>
                        <a:pt x="46973" y="130079"/>
                      </a:cubicBezTo>
                      <a:lnTo>
                        <a:pt x="31616" y="122852"/>
                      </a:lnTo>
                      <a:lnTo>
                        <a:pt x="31616" y="113819"/>
                      </a:lnTo>
                      <a:lnTo>
                        <a:pt x="46973" y="106592"/>
                      </a:lnTo>
                      <a:cubicBezTo>
                        <a:pt x="50586" y="104786"/>
                        <a:pt x="53296" y="101172"/>
                        <a:pt x="54199" y="97559"/>
                      </a:cubicBezTo>
                      <a:cubicBezTo>
                        <a:pt x="55103" y="93946"/>
                        <a:pt x="56909" y="90332"/>
                        <a:pt x="58716" y="86719"/>
                      </a:cubicBezTo>
                      <a:cubicBezTo>
                        <a:pt x="60523" y="83106"/>
                        <a:pt x="60523" y="79493"/>
                        <a:pt x="59619" y="74976"/>
                      </a:cubicBezTo>
                      <a:lnTo>
                        <a:pt x="54199" y="58716"/>
                      </a:lnTo>
                      <a:cubicBezTo>
                        <a:pt x="56006" y="56910"/>
                        <a:pt x="58716" y="54199"/>
                        <a:pt x="60523" y="52393"/>
                      </a:cubicBezTo>
                      <a:lnTo>
                        <a:pt x="76782" y="57813"/>
                      </a:lnTo>
                      <a:cubicBezTo>
                        <a:pt x="80396" y="58716"/>
                        <a:pt x="84912" y="58716"/>
                        <a:pt x="88526" y="56910"/>
                      </a:cubicBezTo>
                      <a:cubicBezTo>
                        <a:pt x="92139" y="55103"/>
                        <a:pt x="95752" y="53296"/>
                        <a:pt x="99365" y="52393"/>
                      </a:cubicBezTo>
                      <a:cubicBezTo>
                        <a:pt x="102979" y="51489"/>
                        <a:pt x="106592" y="48780"/>
                        <a:pt x="108399" y="45166"/>
                      </a:cubicBezTo>
                      <a:lnTo>
                        <a:pt x="115625" y="29810"/>
                      </a:lnTo>
                      <a:lnTo>
                        <a:pt x="124658" y="29810"/>
                      </a:lnTo>
                      <a:lnTo>
                        <a:pt x="131885" y="45166"/>
                      </a:lnTo>
                      <a:cubicBezTo>
                        <a:pt x="133692" y="48780"/>
                        <a:pt x="137305" y="51489"/>
                        <a:pt x="140918" y="52393"/>
                      </a:cubicBezTo>
                      <a:cubicBezTo>
                        <a:pt x="144531" y="53296"/>
                        <a:pt x="148145" y="55103"/>
                        <a:pt x="151758" y="56910"/>
                      </a:cubicBezTo>
                      <a:cubicBezTo>
                        <a:pt x="155371" y="58716"/>
                        <a:pt x="158985" y="58716"/>
                        <a:pt x="163501" y="57813"/>
                      </a:cubicBezTo>
                      <a:lnTo>
                        <a:pt x="179761" y="52393"/>
                      </a:lnTo>
                      <a:cubicBezTo>
                        <a:pt x="181568" y="54199"/>
                        <a:pt x="184278" y="56910"/>
                        <a:pt x="186084" y="58716"/>
                      </a:cubicBezTo>
                      <a:lnTo>
                        <a:pt x="180664" y="74976"/>
                      </a:lnTo>
                      <a:cubicBezTo>
                        <a:pt x="179761" y="78589"/>
                        <a:pt x="179761" y="83106"/>
                        <a:pt x="181568" y="86719"/>
                      </a:cubicBezTo>
                      <a:cubicBezTo>
                        <a:pt x="183374" y="90332"/>
                        <a:pt x="185181" y="93946"/>
                        <a:pt x="186084" y="97559"/>
                      </a:cubicBezTo>
                      <a:cubicBezTo>
                        <a:pt x="186988" y="101172"/>
                        <a:pt x="189698" y="104786"/>
                        <a:pt x="193311" y="106592"/>
                      </a:cubicBezTo>
                      <a:lnTo>
                        <a:pt x="208667" y="113819"/>
                      </a:lnTo>
                      <a:lnTo>
                        <a:pt x="208667" y="122852"/>
                      </a:lnTo>
                      <a:lnTo>
                        <a:pt x="208667" y="122852"/>
                      </a:lnTo>
                      <a:close/>
                    </a:path>
                  </a:pathLst>
                </a:custGeom>
                <a:grpFill/>
                <a:ln w="9028" cap="flat">
                  <a:noFill/>
                  <a:prstDash val="solid"/>
                  <a:miter/>
                </a:ln>
              </p:spPr>
              <p:txBody>
                <a:bodyPr rtlCol="0" anchor="ctr"/>
                <a:lstStyle/>
                <a:p>
                  <a:endParaRPr lang="en-US"/>
                </a:p>
              </p:txBody>
            </p:sp>
            <p:sp>
              <p:nvSpPr>
                <p:cNvPr id="13" name="Freeform 330">
                  <a:extLst>
                    <a:ext uri="{FF2B5EF4-FFF2-40B4-BE49-F238E27FC236}">
                      <a16:creationId xmlns:a16="http://schemas.microsoft.com/office/drawing/2014/main" id="{819A094D-4831-D041-E532-252C5D41C5E6}"/>
                    </a:ext>
                  </a:extLst>
                </p:cNvPr>
                <p:cNvSpPr/>
                <p:nvPr/>
              </p:nvSpPr>
              <p:spPr>
                <a:xfrm>
                  <a:off x="4026418" y="2855246"/>
                  <a:ext cx="667554" cy="88525"/>
                </a:xfrm>
                <a:custGeom>
                  <a:avLst/>
                  <a:gdLst>
                    <a:gd name="connsiteX0" fmla="*/ 652198 w 667554"/>
                    <a:gd name="connsiteY0" fmla="*/ 14453 h 88525"/>
                    <a:gd name="connsiteX1" fmla="*/ 652198 w 667554"/>
                    <a:gd name="connsiteY1" fmla="*/ 14453 h 88525"/>
                    <a:gd name="connsiteX2" fmla="*/ 340552 w 667554"/>
                    <a:gd name="connsiteY2" fmla="*/ 14453 h 88525"/>
                    <a:gd name="connsiteX3" fmla="*/ 340552 w 667554"/>
                    <a:gd name="connsiteY3" fmla="*/ 0 h 88525"/>
                    <a:gd name="connsiteX4" fmla="*/ 310743 w 667554"/>
                    <a:gd name="connsiteY4" fmla="*/ 0 h 88525"/>
                    <a:gd name="connsiteX5" fmla="*/ 310743 w 667554"/>
                    <a:gd name="connsiteY5" fmla="*/ 14453 h 88525"/>
                    <a:gd name="connsiteX6" fmla="*/ 14453 w 667554"/>
                    <a:gd name="connsiteY6" fmla="*/ 14453 h 88525"/>
                    <a:gd name="connsiteX7" fmla="*/ 0 w 667554"/>
                    <a:gd name="connsiteY7" fmla="*/ 28906 h 88525"/>
                    <a:gd name="connsiteX8" fmla="*/ 0 w 667554"/>
                    <a:gd name="connsiteY8" fmla="*/ 28906 h 88525"/>
                    <a:gd name="connsiteX9" fmla="*/ 0 w 667554"/>
                    <a:gd name="connsiteY9" fmla="*/ 88526 h 88525"/>
                    <a:gd name="connsiteX10" fmla="*/ 29810 w 667554"/>
                    <a:gd name="connsiteY10" fmla="*/ 88526 h 88525"/>
                    <a:gd name="connsiteX11" fmla="*/ 29810 w 667554"/>
                    <a:gd name="connsiteY11" fmla="*/ 44263 h 88525"/>
                    <a:gd name="connsiteX12" fmla="*/ 311646 w 667554"/>
                    <a:gd name="connsiteY12" fmla="*/ 44263 h 88525"/>
                    <a:gd name="connsiteX13" fmla="*/ 311646 w 667554"/>
                    <a:gd name="connsiteY13" fmla="*/ 58716 h 88525"/>
                    <a:gd name="connsiteX14" fmla="*/ 341456 w 667554"/>
                    <a:gd name="connsiteY14" fmla="*/ 58716 h 88525"/>
                    <a:gd name="connsiteX15" fmla="*/ 341456 w 667554"/>
                    <a:gd name="connsiteY15" fmla="*/ 44263 h 88525"/>
                    <a:gd name="connsiteX16" fmla="*/ 637745 w 667554"/>
                    <a:gd name="connsiteY16" fmla="*/ 44263 h 88525"/>
                    <a:gd name="connsiteX17" fmla="*/ 637745 w 667554"/>
                    <a:gd name="connsiteY17" fmla="*/ 58716 h 88525"/>
                    <a:gd name="connsiteX18" fmla="*/ 667555 w 667554"/>
                    <a:gd name="connsiteY18" fmla="*/ 58716 h 88525"/>
                    <a:gd name="connsiteX19" fmla="*/ 667555 w 667554"/>
                    <a:gd name="connsiteY19" fmla="*/ 28906 h 88525"/>
                    <a:gd name="connsiteX20" fmla="*/ 652198 w 667554"/>
                    <a:gd name="connsiteY20" fmla="*/ 14453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7554" h="88525">
                      <a:moveTo>
                        <a:pt x="652198" y="14453"/>
                      </a:moveTo>
                      <a:cubicBezTo>
                        <a:pt x="652198" y="14453"/>
                        <a:pt x="652198" y="14453"/>
                        <a:pt x="652198" y="14453"/>
                      </a:cubicBezTo>
                      <a:lnTo>
                        <a:pt x="340552" y="14453"/>
                      </a:lnTo>
                      <a:lnTo>
                        <a:pt x="340552" y="0"/>
                      </a:lnTo>
                      <a:lnTo>
                        <a:pt x="310743" y="0"/>
                      </a:lnTo>
                      <a:lnTo>
                        <a:pt x="310743" y="14453"/>
                      </a:lnTo>
                      <a:lnTo>
                        <a:pt x="14453" y="14453"/>
                      </a:lnTo>
                      <a:cubicBezTo>
                        <a:pt x="6323" y="14453"/>
                        <a:pt x="0" y="20777"/>
                        <a:pt x="0" y="28906"/>
                      </a:cubicBezTo>
                      <a:cubicBezTo>
                        <a:pt x="0" y="28906"/>
                        <a:pt x="0" y="28906"/>
                        <a:pt x="0" y="28906"/>
                      </a:cubicBezTo>
                      <a:lnTo>
                        <a:pt x="0" y="88526"/>
                      </a:lnTo>
                      <a:lnTo>
                        <a:pt x="29810" y="88526"/>
                      </a:lnTo>
                      <a:lnTo>
                        <a:pt x="29810" y="44263"/>
                      </a:lnTo>
                      <a:lnTo>
                        <a:pt x="311646" y="44263"/>
                      </a:lnTo>
                      <a:lnTo>
                        <a:pt x="311646" y="58716"/>
                      </a:lnTo>
                      <a:lnTo>
                        <a:pt x="341456" y="58716"/>
                      </a:lnTo>
                      <a:lnTo>
                        <a:pt x="341456" y="44263"/>
                      </a:lnTo>
                      <a:lnTo>
                        <a:pt x="637745" y="44263"/>
                      </a:lnTo>
                      <a:lnTo>
                        <a:pt x="637745" y="58716"/>
                      </a:lnTo>
                      <a:lnTo>
                        <a:pt x="667555" y="58716"/>
                      </a:lnTo>
                      <a:lnTo>
                        <a:pt x="667555" y="28906"/>
                      </a:lnTo>
                      <a:cubicBezTo>
                        <a:pt x="666651" y="21680"/>
                        <a:pt x="660328" y="14453"/>
                        <a:pt x="652198" y="14453"/>
                      </a:cubicBezTo>
                      <a:close/>
                    </a:path>
                  </a:pathLst>
                </a:custGeom>
                <a:grpFill/>
                <a:ln w="9028" cap="flat">
                  <a:noFill/>
                  <a:prstDash val="solid"/>
                  <a:miter/>
                </a:ln>
              </p:spPr>
              <p:txBody>
                <a:bodyPr rtlCol="0" anchor="ctr"/>
                <a:lstStyle/>
                <a:p>
                  <a:endParaRPr lang="en-US"/>
                </a:p>
              </p:txBody>
            </p:sp>
            <p:sp>
              <p:nvSpPr>
                <p:cNvPr id="14" name="Freeform 331">
                  <a:extLst>
                    <a:ext uri="{FF2B5EF4-FFF2-40B4-BE49-F238E27FC236}">
                      <a16:creationId xmlns:a16="http://schemas.microsoft.com/office/drawing/2014/main" id="{ED9D35FE-1BC0-E961-5B55-4002935C1A06}"/>
                    </a:ext>
                  </a:extLst>
                </p:cNvPr>
                <p:cNvSpPr/>
                <p:nvPr/>
              </p:nvSpPr>
              <p:spPr>
                <a:xfrm>
                  <a:off x="4338064" y="2351193"/>
                  <a:ext cx="192407" cy="206860"/>
                </a:xfrm>
                <a:custGeom>
                  <a:avLst/>
                  <a:gdLst>
                    <a:gd name="connsiteX0" fmla="*/ 177051 w 192407"/>
                    <a:gd name="connsiteY0" fmla="*/ 14453 h 206860"/>
                    <a:gd name="connsiteX1" fmla="*/ 177051 w 192407"/>
                    <a:gd name="connsiteY1" fmla="*/ 14453 h 206860"/>
                    <a:gd name="connsiteX2" fmla="*/ 132788 w 192407"/>
                    <a:gd name="connsiteY2" fmla="*/ 14453 h 206860"/>
                    <a:gd name="connsiteX3" fmla="*/ 118335 w 192407"/>
                    <a:gd name="connsiteY3" fmla="*/ 0 h 206860"/>
                    <a:gd name="connsiteX4" fmla="*/ 118335 w 192407"/>
                    <a:gd name="connsiteY4" fmla="*/ 0 h 206860"/>
                    <a:gd name="connsiteX5" fmla="*/ 14453 w 192407"/>
                    <a:gd name="connsiteY5" fmla="*/ 0 h 206860"/>
                    <a:gd name="connsiteX6" fmla="*/ 0 w 192407"/>
                    <a:gd name="connsiteY6" fmla="*/ 14453 h 206860"/>
                    <a:gd name="connsiteX7" fmla="*/ 0 w 192407"/>
                    <a:gd name="connsiteY7" fmla="*/ 14453 h 206860"/>
                    <a:gd name="connsiteX8" fmla="*/ 0 w 192407"/>
                    <a:gd name="connsiteY8" fmla="*/ 206861 h 206860"/>
                    <a:gd name="connsiteX9" fmla="*/ 29810 w 192407"/>
                    <a:gd name="connsiteY9" fmla="*/ 206861 h 206860"/>
                    <a:gd name="connsiteX10" fmla="*/ 29810 w 192407"/>
                    <a:gd name="connsiteY10" fmla="*/ 118335 h 206860"/>
                    <a:gd name="connsiteX11" fmla="*/ 103882 w 192407"/>
                    <a:gd name="connsiteY11" fmla="*/ 118335 h 206860"/>
                    <a:gd name="connsiteX12" fmla="*/ 118335 w 192407"/>
                    <a:gd name="connsiteY12" fmla="*/ 132788 h 206860"/>
                    <a:gd name="connsiteX13" fmla="*/ 118335 w 192407"/>
                    <a:gd name="connsiteY13" fmla="*/ 132788 h 206860"/>
                    <a:gd name="connsiteX14" fmla="*/ 177954 w 192407"/>
                    <a:gd name="connsiteY14" fmla="*/ 132788 h 206860"/>
                    <a:gd name="connsiteX15" fmla="*/ 192408 w 192407"/>
                    <a:gd name="connsiteY15" fmla="*/ 118335 h 206860"/>
                    <a:gd name="connsiteX16" fmla="*/ 192408 w 192407"/>
                    <a:gd name="connsiteY16" fmla="*/ 118335 h 206860"/>
                    <a:gd name="connsiteX17" fmla="*/ 192408 w 192407"/>
                    <a:gd name="connsiteY17" fmla="*/ 29809 h 206860"/>
                    <a:gd name="connsiteX18" fmla="*/ 177051 w 192407"/>
                    <a:gd name="connsiteY18" fmla="*/ 14453 h 206860"/>
                    <a:gd name="connsiteX19" fmla="*/ 102979 w 192407"/>
                    <a:gd name="connsiteY19" fmla="*/ 89429 h 206860"/>
                    <a:gd name="connsiteX20" fmla="*/ 28906 w 192407"/>
                    <a:gd name="connsiteY20" fmla="*/ 89429 h 206860"/>
                    <a:gd name="connsiteX21" fmla="*/ 28906 w 192407"/>
                    <a:gd name="connsiteY21" fmla="*/ 29809 h 206860"/>
                    <a:gd name="connsiteX22" fmla="*/ 102979 w 192407"/>
                    <a:gd name="connsiteY22" fmla="*/ 29809 h 206860"/>
                    <a:gd name="connsiteX23" fmla="*/ 102979 w 192407"/>
                    <a:gd name="connsiteY23" fmla="*/ 89429 h 206860"/>
                    <a:gd name="connsiteX24" fmla="*/ 162598 w 192407"/>
                    <a:gd name="connsiteY24" fmla="*/ 103882 h 206860"/>
                    <a:gd name="connsiteX25" fmla="*/ 132788 w 192407"/>
                    <a:gd name="connsiteY25" fmla="*/ 103882 h 206860"/>
                    <a:gd name="connsiteX26" fmla="*/ 132788 w 192407"/>
                    <a:gd name="connsiteY26" fmla="*/ 44263 h 206860"/>
                    <a:gd name="connsiteX27" fmla="*/ 162598 w 192407"/>
                    <a:gd name="connsiteY27" fmla="*/ 44263 h 206860"/>
                    <a:gd name="connsiteX28" fmla="*/ 162598 w 192407"/>
                    <a:gd name="connsiteY28" fmla="*/ 103882 h 20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2407" h="206860">
                      <a:moveTo>
                        <a:pt x="177051" y="14453"/>
                      </a:moveTo>
                      <a:cubicBezTo>
                        <a:pt x="177051" y="14453"/>
                        <a:pt x="177051" y="14453"/>
                        <a:pt x="177051" y="14453"/>
                      </a:cubicBezTo>
                      <a:lnTo>
                        <a:pt x="132788" y="14453"/>
                      </a:lnTo>
                      <a:cubicBezTo>
                        <a:pt x="132788" y="6323"/>
                        <a:pt x="126465" y="0"/>
                        <a:pt x="118335" y="0"/>
                      </a:cubicBezTo>
                      <a:cubicBezTo>
                        <a:pt x="118335" y="0"/>
                        <a:pt x="118335" y="0"/>
                        <a:pt x="118335" y="0"/>
                      </a:cubicBezTo>
                      <a:lnTo>
                        <a:pt x="14453" y="0"/>
                      </a:lnTo>
                      <a:cubicBezTo>
                        <a:pt x="6323" y="0"/>
                        <a:pt x="0" y="6323"/>
                        <a:pt x="0" y="14453"/>
                      </a:cubicBezTo>
                      <a:cubicBezTo>
                        <a:pt x="0" y="14453"/>
                        <a:pt x="0" y="14453"/>
                        <a:pt x="0" y="14453"/>
                      </a:cubicBezTo>
                      <a:lnTo>
                        <a:pt x="0" y="206861"/>
                      </a:lnTo>
                      <a:lnTo>
                        <a:pt x="29810" y="206861"/>
                      </a:lnTo>
                      <a:lnTo>
                        <a:pt x="29810" y="118335"/>
                      </a:lnTo>
                      <a:lnTo>
                        <a:pt x="103882" y="118335"/>
                      </a:lnTo>
                      <a:cubicBezTo>
                        <a:pt x="103882" y="126465"/>
                        <a:pt x="110205" y="132788"/>
                        <a:pt x="118335" y="132788"/>
                      </a:cubicBezTo>
                      <a:cubicBezTo>
                        <a:pt x="118335" y="132788"/>
                        <a:pt x="118335" y="132788"/>
                        <a:pt x="118335" y="132788"/>
                      </a:cubicBezTo>
                      <a:lnTo>
                        <a:pt x="177954" y="132788"/>
                      </a:lnTo>
                      <a:cubicBezTo>
                        <a:pt x="186084" y="132788"/>
                        <a:pt x="192408" y="126465"/>
                        <a:pt x="192408" y="118335"/>
                      </a:cubicBezTo>
                      <a:cubicBezTo>
                        <a:pt x="192408" y="118335"/>
                        <a:pt x="192408" y="118335"/>
                        <a:pt x="192408" y="118335"/>
                      </a:cubicBezTo>
                      <a:lnTo>
                        <a:pt x="192408" y="29809"/>
                      </a:lnTo>
                      <a:cubicBezTo>
                        <a:pt x="192408" y="21680"/>
                        <a:pt x="185181" y="14453"/>
                        <a:pt x="177051" y="14453"/>
                      </a:cubicBezTo>
                      <a:close/>
                      <a:moveTo>
                        <a:pt x="102979" y="89429"/>
                      </a:moveTo>
                      <a:lnTo>
                        <a:pt x="28906" y="89429"/>
                      </a:lnTo>
                      <a:lnTo>
                        <a:pt x="28906" y="29809"/>
                      </a:lnTo>
                      <a:lnTo>
                        <a:pt x="102979" y="29809"/>
                      </a:lnTo>
                      <a:lnTo>
                        <a:pt x="102979" y="89429"/>
                      </a:lnTo>
                      <a:close/>
                      <a:moveTo>
                        <a:pt x="162598" y="103882"/>
                      </a:moveTo>
                      <a:lnTo>
                        <a:pt x="132788" y="103882"/>
                      </a:lnTo>
                      <a:lnTo>
                        <a:pt x="132788" y="44263"/>
                      </a:lnTo>
                      <a:lnTo>
                        <a:pt x="162598" y="44263"/>
                      </a:lnTo>
                      <a:lnTo>
                        <a:pt x="162598" y="103882"/>
                      </a:lnTo>
                      <a:close/>
                    </a:path>
                  </a:pathLst>
                </a:custGeom>
                <a:grpFill/>
                <a:ln w="9028" cap="flat">
                  <a:noFill/>
                  <a:prstDash val="solid"/>
                  <a:miter/>
                </a:ln>
              </p:spPr>
              <p:txBody>
                <a:bodyPr rtlCol="0" anchor="ctr"/>
                <a:lstStyle/>
                <a:p>
                  <a:endParaRPr lang="en-US"/>
                </a:p>
              </p:txBody>
            </p:sp>
            <p:sp>
              <p:nvSpPr>
                <p:cNvPr id="15" name="Freeform 332">
                  <a:extLst>
                    <a:ext uri="{FF2B5EF4-FFF2-40B4-BE49-F238E27FC236}">
                      <a16:creationId xmlns:a16="http://schemas.microsoft.com/office/drawing/2014/main" id="{99E433B8-679D-39EC-B99E-9AD4A6AE235D}"/>
                    </a:ext>
                  </a:extLst>
                </p:cNvPr>
                <p:cNvSpPr/>
                <p:nvPr/>
              </p:nvSpPr>
              <p:spPr>
                <a:xfrm>
                  <a:off x="4026418" y="2973581"/>
                  <a:ext cx="29809" cy="29809"/>
                </a:xfrm>
                <a:custGeom>
                  <a:avLst/>
                  <a:gdLst>
                    <a:gd name="connsiteX0" fmla="*/ 0 w 29809"/>
                    <a:gd name="connsiteY0" fmla="*/ 0 h 29809"/>
                    <a:gd name="connsiteX1" fmla="*/ 29810 w 29809"/>
                    <a:gd name="connsiteY1" fmla="*/ 0 h 29809"/>
                    <a:gd name="connsiteX2" fmla="*/ 29810 w 29809"/>
                    <a:gd name="connsiteY2" fmla="*/ 29810 h 29809"/>
                    <a:gd name="connsiteX3" fmla="*/ 0 w 29809"/>
                    <a:gd name="connsiteY3" fmla="*/ 29810 h 29809"/>
                  </a:gdLst>
                  <a:ahLst/>
                  <a:cxnLst>
                    <a:cxn ang="0">
                      <a:pos x="connsiteX0" y="connsiteY0"/>
                    </a:cxn>
                    <a:cxn ang="0">
                      <a:pos x="connsiteX1" y="connsiteY1"/>
                    </a:cxn>
                    <a:cxn ang="0">
                      <a:pos x="connsiteX2" y="connsiteY2"/>
                    </a:cxn>
                    <a:cxn ang="0">
                      <a:pos x="connsiteX3" y="connsiteY3"/>
                    </a:cxn>
                  </a:cxnLst>
                  <a:rect l="l" t="t" r="r" b="b"/>
                  <a:pathLst>
                    <a:path w="29809" h="29809">
                      <a:moveTo>
                        <a:pt x="0" y="0"/>
                      </a:moveTo>
                      <a:lnTo>
                        <a:pt x="29810" y="0"/>
                      </a:lnTo>
                      <a:lnTo>
                        <a:pt x="29810" y="29810"/>
                      </a:lnTo>
                      <a:lnTo>
                        <a:pt x="0" y="29810"/>
                      </a:lnTo>
                      <a:close/>
                    </a:path>
                  </a:pathLst>
                </a:custGeom>
                <a:grpFill/>
                <a:ln w="9028" cap="flat">
                  <a:noFill/>
                  <a:prstDash val="solid"/>
                  <a:miter/>
                </a:ln>
              </p:spPr>
              <p:txBody>
                <a:bodyPr rtlCol="0" anchor="ctr"/>
                <a:lstStyle/>
                <a:p>
                  <a:endParaRPr lang="en-US"/>
                </a:p>
              </p:txBody>
            </p:sp>
            <p:sp>
              <p:nvSpPr>
                <p:cNvPr id="16" name="Freeform 333">
                  <a:extLst>
                    <a:ext uri="{FF2B5EF4-FFF2-40B4-BE49-F238E27FC236}">
                      <a16:creationId xmlns:a16="http://schemas.microsoft.com/office/drawing/2014/main" id="{26C0CCA9-5F0D-6253-A70C-F74FAFA54A7F}"/>
                    </a:ext>
                  </a:extLst>
                </p:cNvPr>
                <p:cNvSpPr/>
                <p:nvPr/>
              </p:nvSpPr>
              <p:spPr>
                <a:xfrm>
                  <a:off x="4663260" y="2943772"/>
                  <a:ext cx="29809" cy="29809"/>
                </a:xfrm>
                <a:custGeom>
                  <a:avLst/>
                  <a:gdLst>
                    <a:gd name="connsiteX0" fmla="*/ 0 w 29809"/>
                    <a:gd name="connsiteY0" fmla="*/ 0 h 29809"/>
                    <a:gd name="connsiteX1" fmla="*/ 29810 w 29809"/>
                    <a:gd name="connsiteY1" fmla="*/ 0 h 29809"/>
                    <a:gd name="connsiteX2" fmla="*/ 29810 w 29809"/>
                    <a:gd name="connsiteY2" fmla="*/ 29810 h 29809"/>
                    <a:gd name="connsiteX3" fmla="*/ 0 w 29809"/>
                    <a:gd name="connsiteY3" fmla="*/ 29810 h 29809"/>
                  </a:gdLst>
                  <a:ahLst/>
                  <a:cxnLst>
                    <a:cxn ang="0">
                      <a:pos x="connsiteX0" y="connsiteY0"/>
                    </a:cxn>
                    <a:cxn ang="0">
                      <a:pos x="connsiteX1" y="connsiteY1"/>
                    </a:cxn>
                    <a:cxn ang="0">
                      <a:pos x="connsiteX2" y="connsiteY2"/>
                    </a:cxn>
                    <a:cxn ang="0">
                      <a:pos x="connsiteX3" y="connsiteY3"/>
                    </a:cxn>
                  </a:cxnLst>
                  <a:rect l="l" t="t" r="r" b="b"/>
                  <a:pathLst>
                    <a:path w="29809" h="29809">
                      <a:moveTo>
                        <a:pt x="0" y="0"/>
                      </a:moveTo>
                      <a:lnTo>
                        <a:pt x="29810" y="0"/>
                      </a:lnTo>
                      <a:lnTo>
                        <a:pt x="29810" y="29810"/>
                      </a:lnTo>
                      <a:lnTo>
                        <a:pt x="0" y="29810"/>
                      </a:lnTo>
                      <a:close/>
                    </a:path>
                  </a:pathLst>
                </a:custGeom>
                <a:grpFill/>
                <a:ln w="9028" cap="flat">
                  <a:noFill/>
                  <a:prstDash val="solid"/>
                  <a:miter/>
                </a:ln>
              </p:spPr>
              <p:txBody>
                <a:bodyPr rtlCol="0" anchor="ctr"/>
                <a:lstStyle/>
                <a:p>
                  <a:endParaRPr lang="en-US"/>
                </a:p>
              </p:txBody>
            </p:sp>
            <p:sp>
              <p:nvSpPr>
                <p:cNvPr id="17" name="Freeform 334">
                  <a:extLst>
                    <a:ext uri="{FF2B5EF4-FFF2-40B4-BE49-F238E27FC236}">
                      <a16:creationId xmlns:a16="http://schemas.microsoft.com/office/drawing/2014/main" id="{81234DEC-162D-BDD7-5B4C-9509A313602D}"/>
                    </a:ext>
                  </a:extLst>
                </p:cNvPr>
                <p:cNvSpPr/>
                <p:nvPr/>
              </p:nvSpPr>
              <p:spPr>
                <a:xfrm>
                  <a:off x="4560281" y="3003391"/>
                  <a:ext cx="236670" cy="236670"/>
                </a:xfrm>
                <a:custGeom>
                  <a:avLst/>
                  <a:gdLst>
                    <a:gd name="connsiteX0" fmla="*/ 118335 w 236670"/>
                    <a:gd name="connsiteY0" fmla="*/ 0 h 236670"/>
                    <a:gd name="connsiteX1" fmla="*/ 0 w 236670"/>
                    <a:gd name="connsiteY1" fmla="*/ 118335 h 236670"/>
                    <a:gd name="connsiteX2" fmla="*/ 118335 w 236670"/>
                    <a:gd name="connsiteY2" fmla="*/ 236670 h 236670"/>
                    <a:gd name="connsiteX3" fmla="*/ 236670 w 236670"/>
                    <a:gd name="connsiteY3" fmla="*/ 118335 h 236670"/>
                    <a:gd name="connsiteX4" fmla="*/ 118335 w 236670"/>
                    <a:gd name="connsiteY4" fmla="*/ 0 h 236670"/>
                    <a:gd name="connsiteX5" fmla="*/ 132788 w 236670"/>
                    <a:gd name="connsiteY5" fmla="*/ 205957 h 236670"/>
                    <a:gd name="connsiteX6" fmla="*/ 132788 w 236670"/>
                    <a:gd name="connsiteY6" fmla="*/ 176148 h 236670"/>
                    <a:gd name="connsiteX7" fmla="*/ 102979 w 236670"/>
                    <a:gd name="connsiteY7" fmla="*/ 176148 h 236670"/>
                    <a:gd name="connsiteX8" fmla="*/ 102979 w 236670"/>
                    <a:gd name="connsiteY8" fmla="*/ 176148 h 236670"/>
                    <a:gd name="connsiteX9" fmla="*/ 102979 w 236670"/>
                    <a:gd name="connsiteY9" fmla="*/ 205957 h 236670"/>
                    <a:gd name="connsiteX10" fmla="*/ 28906 w 236670"/>
                    <a:gd name="connsiteY10" fmla="*/ 118335 h 236670"/>
                    <a:gd name="connsiteX11" fmla="*/ 102979 w 236670"/>
                    <a:gd name="connsiteY11" fmla="*/ 30713 h 236670"/>
                    <a:gd name="connsiteX12" fmla="*/ 102979 w 236670"/>
                    <a:gd name="connsiteY12" fmla="*/ 47876 h 236670"/>
                    <a:gd name="connsiteX13" fmla="*/ 102979 w 236670"/>
                    <a:gd name="connsiteY13" fmla="*/ 47876 h 236670"/>
                    <a:gd name="connsiteX14" fmla="*/ 127368 w 236670"/>
                    <a:gd name="connsiteY14" fmla="*/ 47876 h 236670"/>
                    <a:gd name="connsiteX15" fmla="*/ 132788 w 236670"/>
                    <a:gd name="connsiteY15" fmla="*/ 50586 h 236670"/>
                    <a:gd name="connsiteX16" fmla="*/ 132788 w 236670"/>
                    <a:gd name="connsiteY16" fmla="*/ 30713 h 236670"/>
                    <a:gd name="connsiteX17" fmla="*/ 205957 w 236670"/>
                    <a:gd name="connsiteY17" fmla="*/ 132788 h 236670"/>
                    <a:gd name="connsiteX18" fmla="*/ 132788 w 236670"/>
                    <a:gd name="connsiteY18" fmla="*/ 205957 h 23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670" h="236670">
                      <a:moveTo>
                        <a:pt x="118335" y="0"/>
                      </a:moveTo>
                      <a:cubicBezTo>
                        <a:pt x="53296" y="0"/>
                        <a:pt x="0" y="53296"/>
                        <a:pt x="0" y="118335"/>
                      </a:cubicBezTo>
                      <a:cubicBezTo>
                        <a:pt x="0" y="183374"/>
                        <a:pt x="53296" y="236670"/>
                        <a:pt x="118335" y="236670"/>
                      </a:cubicBezTo>
                      <a:cubicBezTo>
                        <a:pt x="183374" y="236670"/>
                        <a:pt x="236670" y="183374"/>
                        <a:pt x="236670" y="118335"/>
                      </a:cubicBezTo>
                      <a:cubicBezTo>
                        <a:pt x="236670" y="53296"/>
                        <a:pt x="183374" y="0"/>
                        <a:pt x="118335" y="0"/>
                      </a:cubicBezTo>
                      <a:close/>
                      <a:moveTo>
                        <a:pt x="132788" y="205957"/>
                      </a:moveTo>
                      <a:lnTo>
                        <a:pt x="132788" y="176148"/>
                      </a:lnTo>
                      <a:cubicBezTo>
                        <a:pt x="122852" y="178858"/>
                        <a:pt x="113818" y="177954"/>
                        <a:pt x="102979" y="176148"/>
                      </a:cubicBezTo>
                      <a:cubicBezTo>
                        <a:pt x="102979" y="176148"/>
                        <a:pt x="102979" y="176148"/>
                        <a:pt x="102979" y="176148"/>
                      </a:cubicBezTo>
                      <a:lnTo>
                        <a:pt x="102979" y="205957"/>
                      </a:lnTo>
                      <a:cubicBezTo>
                        <a:pt x="60523" y="198731"/>
                        <a:pt x="28906" y="161695"/>
                        <a:pt x="28906" y="118335"/>
                      </a:cubicBezTo>
                      <a:cubicBezTo>
                        <a:pt x="28906" y="74976"/>
                        <a:pt x="60523" y="37940"/>
                        <a:pt x="102979" y="30713"/>
                      </a:cubicBezTo>
                      <a:lnTo>
                        <a:pt x="102979" y="47876"/>
                      </a:lnTo>
                      <a:cubicBezTo>
                        <a:pt x="102979" y="47876"/>
                        <a:pt x="102979" y="47876"/>
                        <a:pt x="102979" y="47876"/>
                      </a:cubicBezTo>
                      <a:cubicBezTo>
                        <a:pt x="111109" y="46069"/>
                        <a:pt x="119238" y="46069"/>
                        <a:pt x="127368" y="47876"/>
                      </a:cubicBezTo>
                      <a:cubicBezTo>
                        <a:pt x="129175" y="48780"/>
                        <a:pt x="130981" y="49683"/>
                        <a:pt x="132788" y="50586"/>
                      </a:cubicBezTo>
                      <a:lnTo>
                        <a:pt x="132788" y="30713"/>
                      </a:lnTo>
                      <a:cubicBezTo>
                        <a:pt x="181568" y="38843"/>
                        <a:pt x="214087" y="84912"/>
                        <a:pt x="205957" y="132788"/>
                      </a:cubicBezTo>
                      <a:cubicBezTo>
                        <a:pt x="199634" y="170728"/>
                        <a:pt x="169824" y="199634"/>
                        <a:pt x="132788" y="205957"/>
                      </a:cubicBezTo>
                      <a:close/>
                    </a:path>
                  </a:pathLst>
                </a:custGeom>
                <a:grpFill/>
                <a:ln w="9028" cap="flat">
                  <a:noFill/>
                  <a:prstDash val="solid"/>
                  <a:miter/>
                </a:ln>
              </p:spPr>
              <p:txBody>
                <a:bodyPr rtlCol="0" anchor="ctr"/>
                <a:lstStyle/>
                <a:p>
                  <a:endParaRPr lang="en-US"/>
                </a:p>
              </p:txBody>
            </p:sp>
          </p:grpSp>
          <p:sp>
            <p:nvSpPr>
              <p:cNvPr id="8" name="Freeform 325">
                <a:extLst>
                  <a:ext uri="{FF2B5EF4-FFF2-40B4-BE49-F238E27FC236}">
                    <a16:creationId xmlns:a16="http://schemas.microsoft.com/office/drawing/2014/main" id="{F4AF9FE1-0AD0-284F-C629-31127003DC53}"/>
                  </a:ext>
                </a:extLst>
              </p:cNvPr>
              <p:cNvSpPr/>
              <p:nvPr/>
            </p:nvSpPr>
            <p:spPr>
              <a:xfrm>
                <a:off x="4606351" y="3049460"/>
                <a:ext cx="111108" cy="144531"/>
              </a:xfrm>
              <a:custGeom>
                <a:avLst/>
                <a:gdLst>
                  <a:gd name="connsiteX0" fmla="*/ 111109 w 111108"/>
                  <a:gd name="connsiteY0" fmla="*/ 136402 h 144531"/>
                  <a:gd name="connsiteX1" fmla="*/ 77686 w 111108"/>
                  <a:gd name="connsiteY1" fmla="*/ 144531 h 144531"/>
                  <a:gd name="connsiteX2" fmla="*/ 25293 w 111108"/>
                  <a:gd name="connsiteY2" fmla="*/ 120142 h 144531"/>
                  <a:gd name="connsiteX3" fmla="*/ 13550 w 111108"/>
                  <a:gd name="connsiteY3" fmla="*/ 92139 h 144531"/>
                  <a:gd name="connsiteX4" fmla="*/ 0 w 111108"/>
                  <a:gd name="connsiteY4" fmla="*/ 92139 h 144531"/>
                  <a:gd name="connsiteX5" fmla="*/ 0 w 111108"/>
                  <a:gd name="connsiteY5" fmla="*/ 76782 h 144531"/>
                  <a:gd name="connsiteX6" fmla="*/ 11743 w 111108"/>
                  <a:gd name="connsiteY6" fmla="*/ 76782 h 144531"/>
                  <a:gd name="connsiteX7" fmla="*/ 11743 w 111108"/>
                  <a:gd name="connsiteY7" fmla="*/ 73169 h 144531"/>
                  <a:gd name="connsiteX8" fmla="*/ 11743 w 111108"/>
                  <a:gd name="connsiteY8" fmla="*/ 66846 h 144531"/>
                  <a:gd name="connsiteX9" fmla="*/ 0 w 111108"/>
                  <a:gd name="connsiteY9" fmla="*/ 66846 h 144531"/>
                  <a:gd name="connsiteX10" fmla="*/ 0 w 111108"/>
                  <a:gd name="connsiteY10" fmla="*/ 51489 h 144531"/>
                  <a:gd name="connsiteX11" fmla="*/ 14453 w 111108"/>
                  <a:gd name="connsiteY11" fmla="*/ 51489 h 144531"/>
                  <a:gd name="connsiteX12" fmla="*/ 28906 w 111108"/>
                  <a:gd name="connsiteY12" fmla="*/ 21680 h 144531"/>
                  <a:gd name="connsiteX13" fmla="*/ 78589 w 111108"/>
                  <a:gd name="connsiteY13" fmla="*/ 0 h 144531"/>
                  <a:gd name="connsiteX14" fmla="*/ 111109 w 111108"/>
                  <a:gd name="connsiteY14" fmla="*/ 6323 h 144531"/>
                  <a:gd name="connsiteX15" fmla="*/ 104785 w 111108"/>
                  <a:gd name="connsiteY15" fmla="*/ 30713 h 144531"/>
                  <a:gd name="connsiteX16" fmla="*/ 81299 w 111108"/>
                  <a:gd name="connsiteY16" fmla="*/ 25293 h 144531"/>
                  <a:gd name="connsiteX17" fmla="*/ 55103 w 111108"/>
                  <a:gd name="connsiteY17" fmla="*/ 37037 h 144531"/>
                  <a:gd name="connsiteX18" fmla="*/ 47876 w 111108"/>
                  <a:gd name="connsiteY18" fmla="*/ 50586 h 144531"/>
                  <a:gd name="connsiteX19" fmla="*/ 101172 w 111108"/>
                  <a:gd name="connsiteY19" fmla="*/ 50586 h 144531"/>
                  <a:gd name="connsiteX20" fmla="*/ 101172 w 111108"/>
                  <a:gd name="connsiteY20" fmla="*/ 65943 h 144531"/>
                  <a:gd name="connsiteX21" fmla="*/ 44263 w 111108"/>
                  <a:gd name="connsiteY21" fmla="*/ 65943 h 144531"/>
                  <a:gd name="connsiteX22" fmla="*/ 44263 w 111108"/>
                  <a:gd name="connsiteY22" fmla="*/ 72266 h 144531"/>
                  <a:gd name="connsiteX23" fmla="*/ 44263 w 111108"/>
                  <a:gd name="connsiteY23" fmla="*/ 75879 h 144531"/>
                  <a:gd name="connsiteX24" fmla="*/ 101172 w 111108"/>
                  <a:gd name="connsiteY24" fmla="*/ 75879 h 144531"/>
                  <a:gd name="connsiteX25" fmla="*/ 101172 w 111108"/>
                  <a:gd name="connsiteY25" fmla="*/ 91236 h 144531"/>
                  <a:gd name="connsiteX26" fmla="*/ 46973 w 111108"/>
                  <a:gd name="connsiteY26" fmla="*/ 91236 h 144531"/>
                  <a:gd name="connsiteX27" fmla="*/ 54199 w 111108"/>
                  <a:gd name="connsiteY27" fmla="*/ 106592 h 144531"/>
                  <a:gd name="connsiteX28" fmla="*/ 82202 w 111108"/>
                  <a:gd name="connsiteY28" fmla="*/ 117432 h 144531"/>
                  <a:gd name="connsiteX29" fmla="*/ 106592 w 111108"/>
                  <a:gd name="connsiteY29" fmla="*/ 112012 h 144531"/>
                  <a:gd name="connsiteX30" fmla="*/ 111109 w 111108"/>
                  <a:gd name="connsiteY30" fmla="*/ 136402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108" h="144531">
                    <a:moveTo>
                      <a:pt x="111109" y="136402"/>
                    </a:moveTo>
                    <a:cubicBezTo>
                      <a:pt x="103882" y="140918"/>
                      <a:pt x="91236" y="144531"/>
                      <a:pt x="77686" y="144531"/>
                    </a:cubicBezTo>
                    <a:cubicBezTo>
                      <a:pt x="56909" y="144531"/>
                      <a:pt x="37036" y="135498"/>
                      <a:pt x="25293" y="120142"/>
                    </a:cubicBezTo>
                    <a:cubicBezTo>
                      <a:pt x="19873" y="112915"/>
                      <a:pt x="15357" y="103882"/>
                      <a:pt x="13550" y="92139"/>
                    </a:cubicBezTo>
                    <a:lnTo>
                      <a:pt x="0" y="92139"/>
                    </a:lnTo>
                    <a:lnTo>
                      <a:pt x="0" y="76782"/>
                    </a:lnTo>
                    <a:lnTo>
                      <a:pt x="11743" y="76782"/>
                    </a:lnTo>
                    <a:cubicBezTo>
                      <a:pt x="11743" y="75879"/>
                      <a:pt x="11743" y="74072"/>
                      <a:pt x="11743" y="73169"/>
                    </a:cubicBezTo>
                    <a:cubicBezTo>
                      <a:pt x="11743" y="71363"/>
                      <a:pt x="11743" y="68653"/>
                      <a:pt x="11743" y="66846"/>
                    </a:cubicBezTo>
                    <a:lnTo>
                      <a:pt x="0" y="66846"/>
                    </a:lnTo>
                    <a:lnTo>
                      <a:pt x="0" y="51489"/>
                    </a:lnTo>
                    <a:lnTo>
                      <a:pt x="14453" y="51489"/>
                    </a:lnTo>
                    <a:cubicBezTo>
                      <a:pt x="17163" y="39746"/>
                      <a:pt x="22583" y="29810"/>
                      <a:pt x="28906" y="21680"/>
                    </a:cubicBezTo>
                    <a:cubicBezTo>
                      <a:pt x="41553" y="8130"/>
                      <a:pt x="58716" y="0"/>
                      <a:pt x="78589" y="0"/>
                    </a:cubicBezTo>
                    <a:cubicBezTo>
                      <a:pt x="92139" y="0"/>
                      <a:pt x="102979" y="2710"/>
                      <a:pt x="111109" y="6323"/>
                    </a:cubicBezTo>
                    <a:lnTo>
                      <a:pt x="104785" y="30713"/>
                    </a:lnTo>
                    <a:cubicBezTo>
                      <a:pt x="99365" y="28003"/>
                      <a:pt x="90332" y="25293"/>
                      <a:pt x="81299" y="25293"/>
                    </a:cubicBezTo>
                    <a:cubicBezTo>
                      <a:pt x="71362" y="25293"/>
                      <a:pt x="61426" y="28906"/>
                      <a:pt x="55103" y="37037"/>
                    </a:cubicBezTo>
                    <a:cubicBezTo>
                      <a:pt x="52393" y="40649"/>
                      <a:pt x="49683" y="45166"/>
                      <a:pt x="47876" y="50586"/>
                    </a:cubicBezTo>
                    <a:lnTo>
                      <a:pt x="101172" y="50586"/>
                    </a:lnTo>
                    <a:lnTo>
                      <a:pt x="101172" y="65943"/>
                    </a:lnTo>
                    <a:lnTo>
                      <a:pt x="44263" y="65943"/>
                    </a:lnTo>
                    <a:cubicBezTo>
                      <a:pt x="44263" y="67749"/>
                      <a:pt x="44263" y="70460"/>
                      <a:pt x="44263" y="72266"/>
                    </a:cubicBezTo>
                    <a:cubicBezTo>
                      <a:pt x="44263" y="73169"/>
                      <a:pt x="44263" y="74072"/>
                      <a:pt x="44263" y="75879"/>
                    </a:cubicBezTo>
                    <a:lnTo>
                      <a:pt x="101172" y="75879"/>
                    </a:lnTo>
                    <a:lnTo>
                      <a:pt x="101172" y="91236"/>
                    </a:lnTo>
                    <a:lnTo>
                      <a:pt x="46973" y="91236"/>
                    </a:lnTo>
                    <a:cubicBezTo>
                      <a:pt x="48779" y="97559"/>
                      <a:pt x="50586" y="102979"/>
                      <a:pt x="54199" y="106592"/>
                    </a:cubicBezTo>
                    <a:cubicBezTo>
                      <a:pt x="61426" y="114722"/>
                      <a:pt x="71362" y="117432"/>
                      <a:pt x="82202" y="117432"/>
                    </a:cubicBezTo>
                    <a:cubicBezTo>
                      <a:pt x="92139" y="117432"/>
                      <a:pt x="102075" y="113819"/>
                      <a:pt x="106592" y="112012"/>
                    </a:cubicBezTo>
                    <a:lnTo>
                      <a:pt x="111109" y="136402"/>
                    </a:lnTo>
                    <a:close/>
                  </a:path>
                </a:pathLst>
              </a:custGeom>
              <a:grpFill/>
              <a:ln w="902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22593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5D7B2-0DE3-5688-EA7F-16A4237CC2EF}"/>
              </a:ext>
            </a:extLst>
          </p:cNvPr>
          <p:cNvSpPr>
            <a:spLocks noGrp="1"/>
          </p:cNvSpPr>
          <p:nvPr>
            <p:ph type="body" sz="quarter" idx="49"/>
          </p:nvPr>
        </p:nvSpPr>
        <p:spPr/>
        <p:txBody>
          <a:bodyPr/>
          <a:lstStyle/>
          <a:p>
            <a:r>
              <a:rPr lang="en-GB" sz="3600" b="1" dirty="0"/>
              <a:t>Erschwinglichkeit</a:t>
            </a:r>
            <a:endParaRPr lang="en-IE" dirty="0"/>
          </a:p>
        </p:txBody>
      </p:sp>
      <p:sp>
        <p:nvSpPr>
          <p:cNvPr id="3" name="Text Placeholder 2">
            <a:extLst>
              <a:ext uri="{FF2B5EF4-FFF2-40B4-BE49-F238E27FC236}">
                <a16:creationId xmlns:a16="http://schemas.microsoft.com/office/drawing/2014/main" id="{11A56D87-965A-EB1E-C50B-ED6F455EC65A}"/>
              </a:ext>
            </a:extLst>
          </p:cNvPr>
          <p:cNvSpPr>
            <a:spLocks noGrp="1"/>
          </p:cNvSpPr>
          <p:nvPr>
            <p:ph type="body" sz="quarter" idx="50"/>
          </p:nvPr>
        </p:nvSpPr>
        <p:spPr/>
        <p:txBody>
          <a:bodyPr/>
          <a:lstStyle/>
          <a:p>
            <a:pPr algn="just"/>
            <a:r>
              <a:rPr lang="en-GB" sz="1800" dirty="0"/>
              <a:t>Die Lösungen müssen kosteneffizient sein, so dass sie einem breiteren Publikum zugänglich sind, auch einkommensschwachen Verbrauchern und Menschen mit eingeschränkten Ressourcen. </a:t>
            </a:r>
            <a:endParaRPr lang="en-IE" sz="1800" dirty="0"/>
          </a:p>
        </p:txBody>
      </p:sp>
      <p:sp>
        <p:nvSpPr>
          <p:cNvPr id="4" name="Text Placeholder 3">
            <a:extLst>
              <a:ext uri="{FF2B5EF4-FFF2-40B4-BE49-F238E27FC236}">
                <a16:creationId xmlns:a16="http://schemas.microsoft.com/office/drawing/2014/main" id="{0079C553-4B72-B5B3-9CC4-BB613B58D6EB}"/>
              </a:ext>
            </a:extLst>
          </p:cNvPr>
          <p:cNvSpPr>
            <a:spLocks noGrp="1"/>
          </p:cNvSpPr>
          <p:nvPr>
            <p:ph type="body" sz="quarter" idx="51"/>
          </p:nvPr>
        </p:nvSpPr>
        <p:spPr/>
        <p:txBody>
          <a:bodyPr/>
          <a:lstStyle/>
          <a:p>
            <a:r>
              <a:rPr lang="en-GB" b="1" dirty="0"/>
              <a:t>Vereinfachung</a:t>
            </a:r>
            <a:endParaRPr lang="en-IE" dirty="0"/>
          </a:p>
        </p:txBody>
      </p:sp>
      <p:sp>
        <p:nvSpPr>
          <p:cNvPr id="5" name="Text Placeholder 4">
            <a:extLst>
              <a:ext uri="{FF2B5EF4-FFF2-40B4-BE49-F238E27FC236}">
                <a16:creationId xmlns:a16="http://schemas.microsoft.com/office/drawing/2014/main" id="{0B219197-84B0-BDB8-BE87-38514AB9F439}"/>
              </a:ext>
            </a:extLst>
          </p:cNvPr>
          <p:cNvSpPr>
            <a:spLocks noGrp="1"/>
          </p:cNvSpPr>
          <p:nvPr>
            <p:ph type="body" sz="quarter" idx="52"/>
          </p:nvPr>
        </p:nvSpPr>
        <p:spPr>
          <a:xfrm>
            <a:off x="3892019" y="3061204"/>
            <a:ext cx="7160273" cy="945874"/>
          </a:xfrm>
        </p:spPr>
        <p:txBody>
          <a:bodyPr/>
          <a:lstStyle/>
          <a:p>
            <a:pPr algn="just"/>
            <a:r>
              <a:rPr lang="en-GB" sz="1800" dirty="0"/>
              <a:t>Die Entwürfe sollten einfach und benutzerfreundlich sein und sich oft auf die Kernfunktionen konzentrieren, während unnötige Funktionen weggelassen werden. Einfachheit erhöht die Benutzerfreundlichkeit und stellt sicher, dass Produkte oder Dienstleistungen von einer Vielzahl von Benutzern effektiv genutzt werden können.</a:t>
            </a:r>
            <a:endParaRPr lang="en-IE" sz="1800" dirty="0"/>
          </a:p>
        </p:txBody>
      </p:sp>
      <p:sp>
        <p:nvSpPr>
          <p:cNvPr id="6" name="Text Placeholder 5">
            <a:extLst>
              <a:ext uri="{FF2B5EF4-FFF2-40B4-BE49-F238E27FC236}">
                <a16:creationId xmlns:a16="http://schemas.microsoft.com/office/drawing/2014/main" id="{86701C2F-29FA-681A-2B06-209828014B6B}"/>
              </a:ext>
            </a:extLst>
          </p:cNvPr>
          <p:cNvSpPr>
            <a:spLocks noGrp="1"/>
          </p:cNvSpPr>
          <p:nvPr>
            <p:ph type="body" sz="quarter" idx="54"/>
          </p:nvPr>
        </p:nvSpPr>
        <p:spPr/>
        <p:txBody>
          <a:bodyPr/>
          <a:lstStyle/>
          <a:p>
            <a:r>
              <a:rPr lang="en-GB" sz="3600" b="1" dirty="0"/>
              <a:t>Ressourceneffizienz</a:t>
            </a:r>
            <a:endParaRPr lang="en-IE" dirty="0"/>
          </a:p>
        </p:txBody>
      </p:sp>
      <p:sp>
        <p:nvSpPr>
          <p:cNvPr id="7" name="Text Placeholder 6">
            <a:extLst>
              <a:ext uri="{FF2B5EF4-FFF2-40B4-BE49-F238E27FC236}">
                <a16:creationId xmlns:a16="http://schemas.microsoft.com/office/drawing/2014/main" id="{276AE8E7-11F0-2AD1-5C01-6CF2722B5928}"/>
              </a:ext>
            </a:extLst>
          </p:cNvPr>
          <p:cNvSpPr>
            <a:spLocks noGrp="1"/>
          </p:cNvSpPr>
          <p:nvPr>
            <p:ph type="body" sz="quarter" idx="55"/>
          </p:nvPr>
        </p:nvSpPr>
        <p:spPr/>
        <p:txBody>
          <a:bodyPr/>
          <a:lstStyle/>
          <a:p>
            <a:pPr algn="just"/>
            <a:r>
              <a:rPr lang="en-GB" sz="1800" dirty="0"/>
              <a:t>Minimaler Ressourceneinsatz für maximalen Output, oft durch Wiederverwendung vorhandener Materialien und Nutzung lokaler Ressourcen. Ressourceneffizienz trägt dazu bei, Kosten und Umweltauswirkungen zu reduzieren.</a:t>
            </a:r>
            <a:endParaRPr lang="en-IE" sz="1800" dirty="0"/>
          </a:p>
        </p:txBody>
      </p:sp>
      <p:pic>
        <p:nvPicPr>
          <p:cNvPr id="16" name="Picture Placeholder 15">
            <a:extLst>
              <a:ext uri="{FF2B5EF4-FFF2-40B4-BE49-F238E27FC236}">
                <a16:creationId xmlns:a16="http://schemas.microsoft.com/office/drawing/2014/main" id="{A3D62FD8-396C-EF44-D144-179C341AAC96}"/>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t="20866" b="20866"/>
          <a:stretch>
            <a:fillRect/>
          </a:stretch>
        </p:blipFill>
        <p:spPr/>
      </p:pic>
      <p:pic>
        <p:nvPicPr>
          <p:cNvPr id="14" name="Picture Placeholder 13">
            <a:extLst>
              <a:ext uri="{FF2B5EF4-FFF2-40B4-BE49-F238E27FC236}">
                <a16:creationId xmlns:a16="http://schemas.microsoft.com/office/drawing/2014/main" id="{722F0948-0E16-ED70-B462-BC216F0D6476}"/>
              </a:ext>
            </a:extLst>
          </p:cNvPr>
          <p:cNvPicPr>
            <a:picLocks noGrp="1" noChangeAspect="1"/>
          </p:cNvPicPr>
          <p:nvPr>
            <p:ph type="pic" sz="quarter" idx="56"/>
          </p:nvPr>
        </p:nvPicPr>
        <p:blipFill rotWithShape="1">
          <a:blip r:embed="rId3" cstate="email">
            <a:extLst>
              <a:ext uri="{28A0092B-C50C-407E-A947-70E740481C1C}">
                <a14:useLocalDpi xmlns:a14="http://schemas.microsoft.com/office/drawing/2010/main"/>
              </a:ext>
            </a:extLst>
          </a:blip>
          <a:srcRect b="29599"/>
          <a:stretch/>
        </p:blipFill>
        <p:spPr>
          <a:xfrm>
            <a:off x="1449252" y="2506660"/>
            <a:ext cx="1839479" cy="1607908"/>
          </a:xfrm>
        </p:spPr>
      </p:pic>
      <p:pic>
        <p:nvPicPr>
          <p:cNvPr id="12" name="Picture Placeholder 11">
            <a:extLst>
              <a:ext uri="{FF2B5EF4-FFF2-40B4-BE49-F238E27FC236}">
                <a16:creationId xmlns:a16="http://schemas.microsoft.com/office/drawing/2014/main" id="{3EC4A04D-CEF4-1299-684F-A0BF42181E61}"/>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9062" r="9062"/>
          <a:stretch>
            <a:fillRect/>
          </a:stretch>
        </p:blipFill>
        <p:spPr/>
      </p:pic>
    </p:spTree>
    <p:extLst>
      <p:ext uri="{BB962C8B-B14F-4D97-AF65-F5344CB8AC3E}">
        <p14:creationId xmlns:p14="http://schemas.microsoft.com/office/powerpoint/2010/main" val="25961177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F26E2F-597F-EFF3-50C1-BB2800C45BB9}"/>
              </a:ext>
            </a:extLst>
          </p:cNvPr>
          <p:cNvSpPr>
            <a:spLocks noGrp="1"/>
          </p:cNvSpPr>
          <p:nvPr>
            <p:ph type="body" sz="quarter" idx="49"/>
          </p:nvPr>
        </p:nvSpPr>
        <p:spPr/>
        <p:txBody>
          <a:bodyPr/>
          <a:lstStyle/>
          <a:p>
            <a:r>
              <a:rPr lang="en-GB" sz="3600" b="1" dirty="0"/>
              <a:t>Skalierbarkeit</a:t>
            </a:r>
            <a:endParaRPr lang="en-IE" dirty="0"/>
          </a:p>
        </p:txBody>
      </p:sp>
      <p:sp>
        <p:nvSpPr>
          <p:cNvPr id="3" name="Text Placeholder 2">
            <a:extLst>
              <a:ext uri="{FF2B5EF4-FFF2-40B4-BE49-F238E27FC236}">
                <a16:creationId xmlns:a16="http://schemas.microsoft.com/office/drawing/2014/main" id="{1E357A3E-693C-23C7-90B6-9EFEB28860A7}"/>
              </a:ext>
            </a:extLst>
          </p:cNvPr>
          <p:cNvSpPr>
            <a:spLocks noGrp="1"/>
          </p:cNvSpPr>
          <p:nvPr>
            <p:ph type="body" sz="quarter" idx="50"/>
          </p:nvPr>
        </p:nvSpPr>
        <p:spPr/>
        <p:txBody>
          <a:bodyPr/>
          <a:lstStyle/>
          <a:p>
            <a:pPr algn="just"/>
            <a:r>
              <a:rPr lang="en-GB" sz="1800" dirty="0"/>
              <a:t>Die Lösungen sollten leicht reproduzierbar und skalierbar sein, um eine größere Bevölkerungsgruppe zu erreichen, ohne dass die Kosten erheblich steigen. Die Skalierbarkeit stellt sicher, dass erfolgreiche Innovationen wachsen und einem größeren Publikum zugutekommen können, wodurch ihre Wirkung verstärkt wird und sie für eine breite Anwendung in Frage kommen.</a:t>
            </a:r>
            <a:endParaRPr lang="en-IE" sz="1800" dirty="0"/>
          </a:p>
        </p:txBody>
      </p:sp>
      <p:sp>
        <p:nvSpPr>
          <p:cNvPr id="4" name="Text Placeholder 3">
            <a:extLst>
              <a:ext uri="{FF2B5EF4-FFF2-40B4-BE49-F238E27FC236}">
                <a16:creationId xmlns:a16="http://schemas.microsoft.com/office/drawing/2014/main" id="{1BCBA5BB-2F26-116C-00E2-626CF5030566}"/>
              </a:ext>
            </a:extLst>
          </p:cNvPr>
          <p:cNvSpPr>
            <a:spLocks noGrp="1"/>
          </p:cNvSpPr>
          <p:nvPr>
            <p:ph type="body" sz="quarter" idx="51"/>
          </p:nvPr>
        </p:nvSpPr>
        <p:spPr/>
        <p:txBody>
          <a:bodyPr/>
          <a:lstStyle/>
          <a:p>
            <a:r>
              <a:rPr lang="en-GB" sz="3600" b="1" dirty="0"/>
              <a:t>Nachhaltigkeit</a:t>
            </a:r>
            <a:endParaRPr lang="en-IE" dirty="0"/>
          </a:p>
        </p:txBody>
      </p:sp>
      <p:sp>
        <p:nvSpPr>
          <p:cNvPr id="5" name="Text Placeholder 4">
            <a:extLst>
              <a:ext uri="{FF2B5EF4-FFF2-40B4-BE49-F238E27FC236}">
                <a16:creationId xmlns:a16="http://schemas.microsoft.com/office/drawing/2014/main" id="{43393067-BC16-CDB1-971F-424AB0831B03}"/>
              </a:ext>
            </a:extLst>
          </p:cNvPr>
          <p:cNvSpPr>
            <a:spLocks noGrp="1"/>
          </p:cNvSpPr>
          <p:nvPr>
            <p:ph type="body" sz="quarter" idx="52"/>
          </p:nvPr>
        </p:nvSpPr>
        <p:spPr/>
        <p:txBody>
          <a:bodyPr/>
          <a:lstStyle/>
          <a:p>
            <a:pPr algn="just"/>
            <a:r>
              <a:rPr lang="en-GB" sz="1800" dirty="0"/>
              <a:t>Innovationen müssen einen minimalen ökologischen Fußabdruck haben und das langfristige ökologische Gleichgewicht fördern. Nachhaltige, sparsame Innovationen sind darauf ausgelegt, Ressourcen sinnvoll zu nutzen, Abfälle zu minimieren und negative Umweltauswirkungen zu verringern, um so zu umfassenderen Nachhaltigkeitszielen beizutragen und sicherzustellen, dass die Lösungen langfristig tragfähig sind.</a:t>
            </a:r>
            <a:endParaRPr lang="en-IE" sz="1800" dirty="0"/>
          </a:p>
        </p:txBody>
      </p:sp>
      <p:pic>
        <p:nvPicPr>
          <p:cNvPr id="11" name="Picture Placeholder 10">
            <a:extLst>
              <a:ext uri="{FF2B5EF4-FFF2-40B4-BE49-F238E27FC236}">
                <a16:creationId xmlns:a16="http://schemas.microsoft.com/office/drawing/2014/main" id="{BBB0329E-B37F-A7E5-0D01-F987A2C610C7}"/>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21397" r="21397"/>
          <a:stretch>
            <a:fillRect/>
          </a:stretch>
        </p:blipFill>
        <p:spPr/>
      </p:pic>
      <p:pic>
        <p:nvPicPr>
          <p:cNvPr id="9" name="Picture Placeholder 8">
            <a:extLst>
              <a:ext uri="{FF2B5EF4-FFF2-40B4-BE49-F238E27FC236}">
                <a16:creationId xmlns:a16="http://schemas.microsoft.com/office/drawing/2014/main" id="{AA3CAF9A-5673-A416-4B90-F6577CD4D311}"/>
              </a:ext>
            </a:extLst>
          </p:cNvPr>
          <p:cNvPicPr>
            <a:picLocks noGrp="1" noChangeAspect="1"/>
          </p:cNvPicPr>
          <p:nvPr>
            <p:ph type="pic" sz="quarter" idx="57"/>
          </p:nvPr>
        </p:nvPicPr>
        <p:blipFill rotWithShape="1">
          <a:blip r:embed="rId3" cstate="email">
            <a:extLst>
              <a:ext uri="{28A0092B-C50C-407E-A947-70E740481C1C}">
                <a14:useLocalDpi xmlns:a14="http://schemas.microsoft.com/office/drawing/2010/main"/>
              </a:ext>
            </a:extLst>
          </a:blip>
          <a:srcRect l="17673" r="4831"/>
          <a:stretch/>
        </p:blipFill>
        <p:spPr>
          <a:xfrm>
            <a:off x="1437074" y="984496"/>
            <a:ext cx="1839479" cy="1607908"/>
          </a:xfrm>
        </p:spPr>
      </p:pic>
    </p:spTree>
    <p:extLst>
      <p:ext uri="{BB962C8B-B14F-4D97-AF65-F5344CB8AC3E}">
        <p14:creationId xmlns:p14="http://schemas.microsoft.com/office/powerpoint/2010/main" val="40600304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59965C-12F1-050D-C10B-AB9DDED6CB54}"/>
              </a:ext>
            </a:extLst>
          </p:cNvPr>
          <p:cNvSpPr>
            <a:spLocks noGrp="1"/>
          </p:cNvSpPr>
          <p:nvPr>
            <p:ph type="body" sz="quarter" idx="30"/>
          </p:nvPr>
        </p:nvSpPr>
        <p:spPr/>
        <p:txBody>
          <a:bodyPr/>
          <a:lstStyle/>
          <a:p>
            <a:r>
              <a:rPr lang="en-GB" dirty="0"/>
              <a:t>BEISPIELE FÜR ERFOLGREICHE FRUGALE INNOVATION IN EUROPA</a:t>
            </a:r>
            <a:endParaRPr lang="en-IE" dirty="0"/>
          </a:p>
        </p:txBody>
      </p:sp>
      <p:sp>
        <p:nvSpPr>
          <p:cNvPr id="3" name="Text Placeholder 2">
            <a:extLst>
              <a:ext uri="{FF2B5EF4-FFF2-40B4-BE49-F238E27FC236}">
                <a16:creationId xmlns:a16="http://schemas.microsoft.com/office/drawing/2014/main" id="{2443C238-C6DA-8F7C-82CE-95A6B7C4B24E}"/>
              </a:ext>
            </a:extLst>
          </p:cNvPr>
          <p:cNvSpPr>
            <a:spLocks noGrp="1"/>
          </p:cNvSpPr>
          <p:nvPr>
            <p:ph type="body" sz="quarter" idx="48"/>
          </p:nvPr>
        </p:nvSpPr>
        <p:spPr>
          <a:xfrm>
            <a:off x="854280" y="2254020"/>
            <a:ext cx="10483429" cy="4439577"/>
          </a:xfrm>
        </p:spPr>
        <p:txBody>
          <a:bodyPr/>
          <a:lstStyle/>
          <a:p>
            <a:pPr algn="just"/>
            <a:r>
              <a:rPr lang="en-GB" dirty="0"/>
              <a:t>Sparsame Innovationen sind von zentraler Bedeutung, wenn es um Nachhaltigkeit und Inklusion in verschiedenen Branchen geht. Durch die Umsetzung kostengünstiger und ressourceneffizienter Lösungen können Unternehmen einen wichtigen Beitrag zu den Zielen für nachhaltige Entwicklung der Vereinten Nationen (SDGs) leisten. </a:t>
            </a:r>
          </a:p>
          <a:p>
            <a:pPr algn="just"/>
            <a:endParaRPr lang="en-GB" dirty="0"/>
          </a:p>
          <a:p>
            <a:pPr algn="just"/>
            <a:r>
              <a:rPr lang="en-GB" dirty="0"/>
              <a:t>Auf den folgenden Folien werden wir europäische Beispiele erfolgreicher frugaler Innovationen und ihre Ausrichtung auf die SDGs 9 (Industrie, Innovation und Infrastruktur) und 12 (verantwortungsvoller Konsum und Produktion) untersuchen.</a:t>
            </a:r>
            <a:endParaRPr lang="en-IE" dirty="0"/>
          </a:p>
        </p:txBody>
      </p:sp>
    </p:spTree>
    <p:extLst>
      <p:ext uri="{BB962C8B-B14F-4D97-AF65-F5344CB8AC3E}">
        <p14:creationId xmlns:p14="http://schemas.microsoft.com/office/powerpoint/2010/main" val="42825411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err="1"/>
              <a:t>StreetScooter</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000" dirty="0"/>
              <a:t>Ein deutsches Unternehmen, das elektrische Lieferfahrzeuge zu niedrigen Kosten entwickelt und herstellt. </a:t>
            </a:r>
            <a:r>
              <a:rPr lang="en-GB" sz="2000" dirty="0" err="1"/>
              <a:t>StreetScooter </a:t>
            </a:r>
            <a:r>
              <a:rPr lang="en-GB" sz="2000" dirty="0"/>
              <a:t>wurde ursprünglich von Deutsche Post DHL Group entwickelt und bietet eine erschwingliche, nachhaltige Alternative zu herkömmlichen Lieferfahrzeugen, die Emissionen und Betriebskosten reduziert. </a:t>
            </a:r>
            <a:r>
              <a:rPr lang="en-GB" sz="2000" dirty="0">
                <a:hlinkClick r:id="rId2"/>
              </a:rPr>
              <a:t>https://www.streetscooter.com/en/</a:t>
            </a:r>
            <a:endParaRPr lang="en-GB" sz="2000" dirty="0"/>
          </a:p>
          <a:p>
            <a:pPr algn="just"/>
            <a:endParaRPr lang="en-IE" sz="20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sz="3600" b="1" dirty="0" err="1"/>
              <a:t>BlaBlaCar</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000" dirty="0"/>
              <a:t>Eine in Frankreich ansässige Mitfahrplattform, die Fahrer mit freien Plätzen mit Mitfahrern verbindet, die in dieselbe Richtung fahren. Durch die Optimierung der Nutzung vorhandener Fahrzeuge bietet </a:t>
            </a:r>
            <a:r>
              <a:rPr lang="en-GB" sz="2000" dirty="0" err="1"/>
              <a:t>BlaBlaCar </a:t>
            </a:r>
            <a:r>
              <a:rPr lang="en-GB" sz="2000" dirty="0"/>
              <a:t>eine erschwingliche und umweltfreundliche Transportmöglichkeit, die den Bedarf an zusätzlichen Autos auf der Straße reduziert. </a:t>
            </a:r>
            <a:r>
              <a:rPr lang="en-GB" sz="2000" dirty="0">
                <a:hlinkClick r:id="rId3"/>
              </a:rPr>
              <a:t>https://www.blablacar.co.uk/</a:t>
            </a:r>
            <a:endParaRPr lang="en-GB" sz="2000" dirty="0"/>
          </a:p>
          <a:p>
            <a:pPr algn="just"/>
            <a:endParaRPr lang="en-IE" sz="5400" dirty="0"/>
          </a:p>
        </p:txBody>
      </p:sp>
      <p:pic>
        <p:nvPicPr>
          <p:cNvPr id="12" name="Picture Placeholder 11">
            <a:extLst>
              <a:ext uri="{FF2B5EF4-FFF2-40B4-BE49-F238E27FC236}">
                <a16:creationId xmlns:a16="http://schemas.microsoft.com/office/drawing/2014/main" id="{AEAC8FBB-03F8-667A-02C5-8F62EAE1C70B}"/>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Lst>
          </a:blip>
          <a:srcRect t="25405" b="25405"/>
          <a:stretch>
            <a:fillRect/>
          </a:stretch>
        </p:blipFill>
        <p:spPr/>
      </p:pic>
      <p:pic>
        <p:nvPicPr>
          <p:cNvPr id="10" name="Picture Placeholder 9">
            <a:extLst>
              <a:ext uri="{FF2B5EF4-FFF2-40B4-BE49-F238E27FC236}">
                <a16:creationId xmlns:a16="http://schemas.microsoft.com/office/drawing/2014/main" id="{E226D3B0-4042-F076-7325-5B44570754B5}"/>
              </a:ext>
            </a:extLst>
          </p:cNvPr>
          <p:cNvPicPr>
            <a:picLocks noGrp="1" noChangeAspect="1"/>
          </p:cNvPicPr>
          <p:nvPr>
            <p:ph type="pic" sz="quarter" idx="57"/>
          </p:nvPr>
        </p:nvPicPr>
        <p:blipFill>
          <a:blip r:embed="rId5" cstate="email">
            <a:extLst>
              <a:ext uri="{28A0092B-C50C-407E-A947-70E740481C1C}">
                <a14:useLocalDpi xmlns:a14="http://schemas.microsoft.com/office/drawing/2010/main"/>
              </a:ext>
            </a:extLst>
          </a:blip>
          <a:srcRect l="7095" r="7095"/>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0" y="0"/>
            <a:ext cx="1921079" cy="360727"/>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TRANSPORT</a:t>
            </a:r>
          </a:p>
        </p:txBody>
      </p:sp>
    </p:spTree>
    <p:extLst>
      <p:ext uri="{BB962C8B-B14F-4D97-AF65-F5344CB8AC3E}">
        <p14:creationId xmlns:p14="http://schemas.microsoft.com/office/powerpoint/2010/main" val="39030869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77B8A5-EA9A-1D2D-E3C0-080DA4FA37E4}"/>
              </a:ext>
            </a:extLst>
          </p:cNvPr>
          <p:cNvSpPr>
            <a:spLocks noGrp="1"/>
          </p:cNvSpPr>
          <p:nvPr>
            <p:ph type="body" sz="quarter" idx="49"/>
          </p:nvPr>
        </p:nvSpPr>
        <p:spPr/>
        <p:txBody>
          <a:bodyPr/>
          <a:lstStyle/>
          <a:p>
            <a:r>
              <a:rPr lang="en-GB" sz="3600" b="1" dirty="0" err="1"/>
              <a:t>WakaWaka</a:t>
            </a:r>
            <a:endParaRPr lang="en-IE" dirty="0"/>
          </a:p>
        </p:txBody>
      </p:sp>
      <p:sp>
        <p:nvSpPr>
          <p:cNvPr id="3" name="Text Placeholder 2">
            <a:extLst>
              <a:ext uri="{FF2B5EF4-FFF2-40B4-BE49-F238E27FC236}">
                <a16:creationId xmlns:a16="http://schemas.microsoft.com/office/drawing/2014/main" id="{BE8ACA23-C6E0-4B4C-E6CF-74E456D1A083}"/>
              </a:ext>
            </a:extLst>
          </p:cNvPr>
          <p:cNvSpPr>
            <a:spLocks noGrp="1"/>
          </p:cNvSpPr>
          <p:nvPr>
            <p:ph type="body" sz="quarter" idx="50"/>
          </p:nvPr>
        </p:nvSpPr>
        <p:spPr/>
        <p:txBody>
          <a:bodyPr/>
          <a:lstStyle/>
          <a:p>
            <a:pPr algn="just"/>
            <a:r>
              <a:rPr lang="en-GB" sz="2000" dirty="0"/>
              <a:t>Dieses niederländische Unternehmen stellt erschwingliche solarbetriebene Lampen und Ladegeräte her. Die Produkte von </a:t>
            </a:r>
            <a:r>
              <a:rPr lang="en-GB" sz="2000" dirty="0" err="1"/>
              <a:t>WakaWaka </a:t>
            </a:r>
            <a:r>
              <a:rPr lang="en-GB" sz="2000" dirty="0"/>
              <a:t>sollen nachhaltige Energielösungen für netzferne Gemeinden bieten, die Abhängigkeit von Kerosinlampen verringern und die Nutzung sauberer Energie fördern. </a:t>
            </a:r>
          </a:p>
          <a:p>
            <a:pPr algn="just"/>
            <a:r>
              <a:rPr lang="en-GB" sz="2000" dirty="0">
                <a:hlinkClick r:id="rId2"/>
              </a:rPr>
              <a:t>https://waka-waka.com/en/</a:t>
            </a:r>
            <a:endParaRPr lang="en-GB" sz="2000" dirty="0"/>
          </a:p>
          <a:p>
            <a:pPr algn="just"/>
            <a:endParaRPr lang="en-GB" sz="2000" dirty="0"/>
          </a:p>
          <a:p>
            <a:pPr algn="just"/>
            <a:endParaRPr lang="en-IE" sz="2800" dirty="0"/>
          </a:p>
        </p:txBody>
      </p:sp>
      <p:sp>
        <p:nvSpPr>
          <p:cNvPr id="4" name="Text Placeholder 3">
            <a:extLst>
              <a:ext uri="{FF2B5EF4-FFF2-40B4-BE49-F238E27FC236}">
                <a16:creationId xmlns:a16="http://schemas.microsoft.com/office/drawing/2014/main" id="{6076C73D-ACDB-C8D4-7CE9-28BA00AFAA3F}"/>
              </a:ext>
            </a:extLst>
          </p:cNvPr>
          <p:cNvSpPr>
            <a:spLocks noGrp="1"/>
          </p:cNvSpPr>
          <p:nvPr>
            <p:ph type="body" sz="quarter" idx="51"/>
          </p:nvPr>
        </p:nvSpPr>
        <p:spPr/>
        <p:txBody>
          <a:bodyPr/>
          <a:lstStyle/>
          <a:p>
            <a:r>
              <a:rPr lang="en-GB" dirty="0" err="1"/>
              <a:t>LyteFire</a:t>
            </a:r>
            <a:endParaRPr lang="en-IE" dirty="0"/>
          </a:p>
        </p:txBody>
      </p:sp>
      <p:sp>
        <p:nvSpPr>
          <p:cNvPr id="5" name="Text Placeholder 4">
            <a:extLst>
              <a:ext uri="{FF2B5EF4-FFF2-40B4-BE49-F238E27FC236}">
                <a16:creationId xmlns:a16="http://schemas.microsoft.com/office/drawing/2014/main" id="{F1FE476A-DA9C-0C69-06EA-882BB28C14E6}"/>
              </a:ext>
            </a:extLst>
          </p:cNvPr>
          <p:cNvSpPr>
            <a:spLocks noGrp="1"/>
          </p:cNvSpPr>
          <p:nvPr>
            <p:ph type="body" sz="quarter" idx="52"/>
          </p:nvPr>
        </p:nvSpPr>
        <p:spPr/>
        <p:txBody>
          <a:bodyPr/>
          <a:lstStyle/>
          <a:p>
            <a:pPr algn="just"/>
            <a:r>
              <a:rPr lang="en-GB" sz="2000" dirty="0"/>
              <a:t>Eine finnische Initiative, die kostengünstige Solarkonzentratoren für kleine Industrien und Gemeinden entwickelt. Diese Solarkonzentratoren bieten eine nachhaltige Energielösung, indem sie die Kraft der Sonne zur Erzeugung von Wärme und Strom nutzen. </a:t>
            </a:r>
            <a:r>
              <a:rPr lang="en-GB" sz="2000" dirty="0">
                <a:hlinkClick r:id="rId3"/>
              </a:rPr>
              <a:t>https://lytefire.com/en</a:t>
            </a:r>
            <a:endParaRPr lang="en-GB" sz="2000" dirty="0"/>
          </a:p>
          <a:p>
            <a:pPr algn="just"/>
            <a:endParaRPr lang="en-IE" sz="2000" dirty="0"/>
          </a:p>
        </p:txBody>
      </p:sp>
      <p:pic>
        <p:nvPicPr>
          <p:cNvPr id="10" name="Picture Placeholder 9">
            <a:extLst>
              <a:ext uri="{FF2B5EF4-FFF2-40B4-BE49-F238E27FC236}">
                <a16:creationId xmlns:a16="http://schemas.microsoft.com/office/drawing/2014/main" id="{B3F80BF4-2FD4-466E-B7D3-BF41666C5FBF}"/>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Lst>
          </a:blip>
          <a:srcRect l="11844" r="11844"/>
          <a:stretch>
            <a:fillRect/>
          </a:stretch>
        </p:blipFill>
        <p:spPr/>
      </p:pic>
      <p:pic>
        <p:nvPicPr>
          <p:cNvPr id="12" name="Picture Placeholder 11">
            <a:extLst>
              <a:ext uri="{FF2B5EF4-FFF2-40B4-BE49-F238E27FC236}">
                <a16:creationId xmlns:a16="http://schemas.microsoft.com/office/drawing/2014/main" id="{A7E4A956-59D1-7398-CB1B-0EDFA0F58236}"/>
              </a:ext>
            </a:extLst>
          </p:cNvPr>
          <p:cNvPicPr>
            <a:picLocks noGrp="1" noChangeAspect="1"/>
          </p:cNvPicPr>
          <p:nvPr>
            <p:ph type="pic" sz="quarter" idx="57"/>
          </p:nvPr>
        </p:nvPicPr>
        <p:blipFill>
          <a:blip r:embed="rId5" cstate="email">
            <a:extLst>
              <a:ext uri="{28A0092B-C50C-407E-A947-70E740481C1C}">
                <a14:useLocalDpi xmlns:a14="http://schemas.microsoft.com/office/drawing/2010/main"/>
              </a:ext>
            </a:extLst>
          </a:blip>
          <a:srcRect t="15656" b="15656"/>
          <a:stretch>
            <a:fillRect/>
          </a:stretch>
        </p:blipFill>
        <p:spPr/>
      </p:pic>
      <p:sp>
        <p:nvSpPr>
          <p:cNvPr id="8" name="Text Placeholder 2">
            <a:extLst>
              <a:ext uri="{FF2B5EF4-FFF2-40B4-BE49-F238E27FC236}">
                <a16:creationId xmlns:a16="http://schemas.microsoft.com/office/drawing/2014/main" id="{F1457A2F-6CF0-0E5E-5303-E6F04699B4DF}"/>
              </a:ext>
            </a:extLst>
          </p:cNvPr>
          <p:cNvSpPr txBox="1">
            <a:spLocks/>
          </p:cNvSpPr>
          <p:nvPr/>
        </p:nvSpPr>
        <p:spPr>
          <a:xfrm>
            <a:off x="0" y="0"/>
            <a:ext cx="973123" cy="360727"/>
          </a:xfrm>
          <a:prstGeom prst="rect">
            <a:avLst/>
          </a:prstGeom>
          <a:solidFill>
            <a:srgbClr val="2094D2"/>
          </a:solidFill>
        </p:spPr>
        <p:txBody>
          <a:bodyPr/>
          <a:lst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a:lstStyle>
          <a:p>
            <a:pPr marL="0" indent="0">
              <a:buNone/>
            </a:pPr>
            <a:r>
              <a:rPr lang="en-IE" sz="1800" b="1" dirty="0">
                <a:solidFill>
                  <a:schemeClr val="bg1"/>
                </a:solidFill>
                <a:ea typeface="Open Sans" panose="020B0606030504020204" pitchFamily="34" charset="0"/>
              </a:rPr>
              <a:t>ENERGIE</a:t>
            </a:r>
          </a:p>
        </p:txBody>
      </p:sp>
    </p:spTree>
    <p:extLst>
      <p:ext uri="{BB962C8B-B14F-4D97-AF65-F5344CB8AC3E}">
        <p14:creationId xmlns:p14="http://schemas.microsoft.com/office/powerpoint/2010/main" val="3398788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C9E2D6-1656-DC73-9AB4-2F37BC2FFAAA}"/>
              </a:ext>
            </a:extLst>
          </p:cNvPr>
          <p:cNvSpPr>
            <a:spLocks noGrp="1"/>
          </p:cNvSpPr>
          <p:nvPr>
            <p:ph type="body" sz="quarter" idx="48"/>
          </p:nvPr>
        </p:nvSpPr>
        <p:spPr>
          <a:xfrm>
            <a:off x="854285" y="1876973"/>
            <a:ext cx="10483429" cy="4439577"/>
          </a:xfrm>
        </p:spPr>
        <p:txBody>
          <a:bodyPr/>
          <a:lstStyle/>
          <a:p>
            <a:pPr algn="just"/>
            <a:r>
              <a:rPr lang="en-GB" sz="1600" b="1" dirty="0">
                <a:solidFill>
                  <a:srgbClr val="0F486D"/>
                </a:solidFill>
                <a:hlinkClick r:id="rId2">
                  <a:extLst>
                    <a:ext uri="{A12FA001-AC4F-418D-AE19-62706E023703}">
                      <ahyp:hlinkClr xmlns:ahyp="http://schemas.microsoft.com/office/drawing/2018/hyperlinkcolor" val="tx"/>
                    </a:ext>
                  </a:extLst>
                </a:hlinkClick>
              </a:rPr>
              <a:t>Erschwingliche und saubere Energie (SDG 7) </a:t>
            </a:r>
            <a:r>
              <a:rPr lang="en-GB" sz="1600" dirty="0"/>
              <a:t>Sparsame Innovationen wie solarbetriebene Lampen und Ladegeräte verschaffen netzfernen Gemeinden Zugang zu sauberer Energie. Indem sie die Abhängigkeit von fossilen Brennstoffen und Kerosinlampen verringern, tragen diese Innovationen zur Senkung der Treibhausgasemissionen und zur Verbesserung der Luftqualität bei.</a:t>
            </a:r>
          </a:p>
          <a:p>
            <a:pPr algn="just"/>
            <a:endParaRPr lang="en-GB" sz="800" b="1" dirty="0"/>
          </a:p>
          <a:p>
            <a:pPr algn="just"/>
            <a:r>
              <a:rPr lang="en-GB" sz="1600" b="1" dirty="0">
                <a:solidFill>
                  <a:srgbClr val="0F486D"/>
                </a:solidFill>
                <a:hlinkClick r:id="rId3">
                  <a:extLst>
                    <a:ext uri="{A12FA001-AC4F-418D-AE19-62706E023703}">
                      <ahyp:hlinkClr xmlns:ahyp="http://schemas.microsoft.com/office/drawing/2018/hyperlinkcolor" val="tx"/>
                    </a:ext>
                  </a:extLst>
                </a:hlinkClick>
              </a:rPr>
              <a:t>Industrie, Innovation und Infrastruktur (SDG 9) </a:t>
            </a:r>
            <a:r>
              <a:rPr lang="en-GB" sz="1600" dirty="0"/>
              <a:t>Sparsame Lösungen fördern die industrielle Innovation und die Entwicklung der Infrastruktur, indem sie die effiziente Nutzung von Ressourcen unterstützen. Erschwingliche Technologien ermöglichen das Gedeihen von Kleinunternehmen und Start-ups und fördern so Wirtschaftswachstum und Beschäftigung.</a:t>
            </a:r>
          </a:p>
          <a:p>
            <a:pPr algn="just"/>
            <a:endParaRPr lang="en-GB" sz="800" b="1" dirty="0"/>
          </a:p>
          <a:p>
            <a:pPr algn="just"/>
            <a:r>
              <a:rPr lang="en-GB" sz="1600" b="1" dirty="0">
                <a:solidFill>
                  <a:srgbClr val="0F486D"/>
                </a:solidFill>
                <a:hlinkClick r:id="rId4">
                  <a:extLst>
                    <a:ext uri="{A12FA001-AC4F-418D-AE19-62706E023703}">
                      <ahyp:hlinkClr xmlns:ahyp="http://schemas.microsoft.com/office/drawing/2018/hyperlinkcolor" val="tx"/>
                    </a:ext>
                  </a:extLst>
                </a:hlinkClick>
              </a:rPr>
              <a:t>Nachhaltige Städte und Gemeinden (SDG 11) </a:t>
            </a:r>
            <a:r>
              <a:rPr lang="en-GB" sz="1600" dirty="0"/>
              <a:t>Frugale Innovationen tragen zum Aufbau nachhaltiger Städte bei, indem sie kostengünstige, umweltfreundliche Wohn- und Transportlösungen anbieten. Diese Innovationen helfen dabei, integrative städtische Umgebungen zu schaffen, die gegenüber ökologischen Herausforderungen widerstandsfähig sind.</a:t>
            </a:r>
          </a:p>
          <a:p>
            <a:pPr algn="just"/>
            <a:endParaRPr lang="en-GB" sz="800" dirty="0"/>
          </a:p>
          <a:p>
            <a:pPr algn="just"/>
            <a:r>
              <a:rPr lang="en-GB" sz="1600" b="1" dirty="0">
                <a:solidFill>
                  <a:srgbClr val="0F486D"/>
                </a:solidFill>
                <a:hlinkClick r:id="rId5">
                  <a:extLst>
                    <a:ext uri="{A12FA001-AC4F-418D-AE19-62706E023703}">
                      <ahyp:hlinkClr xmlns:ahyp="http://schemas.microsoft.com/office/drawing/2018/hyperlinkcolor" val="tx"/>
                    </a:ext>
                  </a:extLst>
                </a:hlinkClick>
              </a:rPr>
              <a:t>Verantwortungsvoller Konsum und verantwortungsvolle Produktion (SDG 12) </a:t>
            </a:r>
            <a:r>
              <a:rPr lang="en-GB" sz="1600" dirty="0"/>
              <a:t>Sparsame Innovationen fördern Ressourceneffizienz und Abfallvermeidung. Durch die Entwicklung von Produkten, die weniger Materialien verbrauchen und leicht recycelt oder wiederverwendet werden können, unterstützen diese Innovationen nachhaltige Konsummuster und verringern die Umweltbelastung.</a:t>
            </a:r>
          </a:p>
          <a:p>
            <a:pPr algn="just"/>
            <a:endParaRPr lang="en-IE" sz="1600" dirty="0"/>
          </a:p>
        </p:txBody>
      </p:sp>
      <p:pic>
        <p:nvPicPr>
          <p:cNvPr id="2" name="Picture 2">
            <a:extLst>
              <a:ext uri="{FF2B5EF4-FFF2-40B4-BE49-F238E27FC236}">
                <a16:creationId xmlns:a16="http://schemas.microsoft.com/office/drawing/2014/main" id="{1E163E6D-7BB8-683F-45F0-54F8DE207EA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5342" y="125057"/>
            <a:ext cx="1265374" cy="126537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EA0F451-C01F-AD12-AC67-DC38EFEE10B9}"/>
              </a:ext>
            </a:extLst>
          </p:cNvPr>
          <p:cNvSpPr txBox="1"/>
          <p:nvPr/>
        </p:nvSpPr>
        <p:spPr>
          <a:xfrm>
            <a:off x="696449" y="541450"/>
            <a:ext cx="11052169" cy="1200329"/>
          </a:xfrm>
          <a:prstGeom prst="rect">
            <a:avLst/>
          </a:prstGeom>
          <a:noFill/>
        </p:spPr>
        <p:txBody>
          <a:bodyPr wrap="square" rtlCol="0">
            <a:spAutoFit/>
          </a:bodyPr>
          <a:lstStyle/>
          <a:p>
            <a:pPr algn="ctr"/>
            <a:r>
              <a:rPr lang="en-IE" sz="3600" b="1" dirty="0">
                <a:solidFill>
                  <a:srgbClr val="2094D2"/>
                </a:solidFill>
                <a:latin typeface="Calibri" panose="020F0502020204030204" pitchFamily="34" charset="0"/>
                <a:ea typeface="Calibri" panose="020F0502020204030204" pitchFamily="34" charset="0"/>
                <a:cs typeface="Calibri" panose="020F0502020204030204" pitchFamily="34" charset="0"/>
              </a:rPr>
              <a:t>FRUGALE INNOVATION UND DIE ZIELE FÜR NACHHALTIGE ENTWICKLUNG</a:t>
            </a:r>
          </a:p>
        </p:txBody>
      </p:sp>
    </p:spTree>
    <p:extLst>
      <p:ext uri="{BB962C8B-B14F-4D97-AF65-F5344CB8AC3E}">
        <p14:creationId xmlns:p14="http://schemas.microsoft.com/office/powerpoint/2010/main" val="3158126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A3B106-DCD6-7AB9-91E8-E48BC3D66058}"/>
              </a:ext>
            </a:extLst>
          </p:cNvPr>
          <p:cNvGraphicFramePr>
            <a:graphicFrameLocks noChangeAspect="1"/>
          </p:cNvGraphicFramePr>
          <p:nvPr>
            <p:custDataLst>
              <p:tags r:id="rId1"/>
            </p:custDataLst>
            <p:extLst>
              <p:ext uri="{D42A27DB-BD31-4B8C-83A1-F6EECF244321}">
                <p14:modId xmlns:p14="http://schemas.microsoft.com/office/powerpoint/2010/main" val="2463554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descr="Teenager admiring homemade robot">
            <a:extLst>
              <a:ext uri="{FF2B5EF4-FFF2-40B4-BE49-F238E27FC236}">
                <a16:creationId xmlns:a16="http://schemas.microsoft.com/office/drawing/2014/main" id="{68F7B5E8-5EE1-CCBC-FFCC-E75F896948ED}"/>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31" r="25731"/>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8</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67724" y="2030137"/>
            <a:ext cx="4939670" cy="4271810"/>
          </a:xfrm>
        </p:spPr>
        <p:txBody>
          <a:bodyPr/>
          <a:lstStyle/>
          <a:p>
            <a:pPr algn="just"/>
            <a:r>
              <a:rPr lang="en-GB" sz="2400" dirty="0"/>
              <a:t>Agile Methoden sind von zentraler Bedeutung für Unternehmen, die sich in der heutigen schnelllebigen und wettbewerbsintensiven Geschäftswelt zurechtfinden müssen. </a:t>
            </a:r>
          </a:p>
          <a:p>
            <a:pPr algn="just"/>
            <a:endParaRPr lang="en-GB" sz="2400" dirty="0"/>
          </a:p>
          <a:p>
            <a:pPr algn="just"/>
            <a:r>
              <a:rPr lang="en-GB" sz="2400" dirty="0"/>
              <a:t>Sie bieten einen strukturierten Ansatz, der die Teams in die Lage versetzt, Veränderungen effektiv zu bewältigen, Werte iterativ zu liefern und schnell auf sich verändernde Kundenanforderungen zu reagieren. </a:t>
            </a:r>
          </a:p>
          <a:p>
            <a:pPr algn="just"/>
            <a:endParaRPr lang="en-GB" dirty="0"/>
          </a:p>
        </p:txBody>
      </p:sp>
    </p:spTree>
    <p:extLst>
      <p:ext uri="{BB962C8B-B14F-4D97-AF65-F5344CB8AC3E}">
        <p14:creationId xmlns:p14="http://schemas.microsoft.com/office/powerpoint/2010/main" val="294766762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5A76385-8CEF-CDDD-100D-4445874ABBA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7873" r="17873"/>
          <a:stretch>
            <a:fillRect/>
          </a:stretch>
        </p:blipFill>
        <p:spPr/>
      </p:pic>
      <p:sp>
        <p:nvSpPr>
          <p:cNvPr id="3" name="Text Placeholder 2">
            <a:extLst>
              <a:ext uri="{FF2B5EF4-FFF2-40B4-BE49-F238E27FC236}">
                <a16:creationId xmlns:a16="http://schemas.microsoft.com/office/drawing/2014/main" id="{279F8615-E5FF-4731-54A8-B0D9C2F930A2}"/>
              </a:ext>
            </a:extLst>
          </p:cNvPr>
          <p:cNvSpPr>
            <a:spLocks noGrp="1"/>
          </p:cNvSpPr>
          <p:nvPr>
            <p:ph type="body" sz="quarter" idx="30"/>
          </p:nvPr>
        </p:nvSpPr>
        <p:spPr>
          <a:xfrm>
            <a:off x="6312629" y="178786"/>
            <a:ext cx="5875886" cy="845139"/>
          </a:xfrm>
        </p:spPr>
        <p:txBody>
          <a:bodyPr/>
          <a:lstStyle/>
          <a:p>
            <a:r>
              <a:rPr lang="en-IE" sz="2800" dirty="0"/>
              <a:t>FÖRDERUNG VON NACHHALTIGKEIT UND INKLUSIVITÄT</a:t>
            </a:r>
          </a:p>
        </p:txBody>
      </p:sp>
      <p:sp>
        <p:nvSpPr>
          <p:cNvPr id="4" name="Text Placeholder 3">
            <a:extLst>
              <a:ext uri="{FF2B5EF4-FFF2-40B4-BE49-F238E27FC236}">
                <a16:creationId xmlns:a16="http://schemas.microsoft.com/office/drawing/2014/main" id="{93A88577-5D92-0A07-CB7A-FEC814F6A30F}"/>
              </a:ext>
            </a:extLst>
          </p:cNvPr>
          <p:cNvSpPr>
            <a:spLocks noGrp="1"/>
          </p:cNvSpPr>
          <p:nvPr>
            <p:ph type="body" sz="quarter" idx="48"/>
          </p:nvPr>
        </p:nvSpPr>
        <p:spPr>
          <a:xfrm>
            <a:off x="6312629" y="1549400"/>
            <a:ext cx="5659237" cy="4919133"/>
          </a:xfrm>
          <a:solidFill>
            <a:schemeClr val="bg1"/>
          </a:solidFill>
        </p:spPr>
        <p:txBody>
          <a:bodyPr/>
          <a:lstStyle/>
          <a:p>
            <a:pPr algn="just"/>
            <a:r>
              <a:rPr lang="en-GB" sz="1600" dirty="0"/>
              <a:t>Sparsame Innovationen spielen eine entscheidende Rolle bei der Bewältigung globaler Herausforderungen, indem sie wichtige Dienstleistungen und Produkte für einkommensschwache Bevölkerungsgruppen zugänglich machen und so Ungleichheit verringern und soziale Integration fördern. </a:t>
            </a:r>
          </a:p>
          <a:p>
            <a:pPr algn="just"/>
            <a:endParaRPr lang="en-GB" sz="1600" dirty="0"/>
          </a:p>
          <a:p>
            <a:pPr algn="just"/>
            <a:r>
              <a:rPr lang="en-GB" sz="1600" dirty="0"/>
              <a:t>Diese bessere Zugänglichkeit trägt dazu bei, die Kluft zwischen den verschiedenen sozioökonomischen Gruppen zu überbrücken und sicherzustellen, dass alle vom technologischen Fortschritt profitieren. </a:t>
            </a:r>
          </a:p>
          <a:p>
            <a:pPr algn="just"/>
            <a:endParaRPr lang="en-GB" sz="1600" dirty="0"/>
          </a:p>
          <a:p>
            <a:pPr algn="just"/>
            <a:r>
              <a:rPr lang="en-GB" sz="1600" dirty="0"/>
              <a:t>Indem sie </a:t>
            </a:r>
            <a:r>
              <a:rPr lang="en-GB" sz="1600" b="1" dirty="0"/>
              <a:t>Einfachheit und Ressourceneffizienz in den Vordergrund stellen</a:t>
            </a:r>
            <a:r>
              <a:rPr lang="en-GB" sz="1600" dirty="0"/>
              <a:t>, fördern genügsame Innovationen nachhaltige Praktiken in verschiedenen Branchen. </a:t>
            </a:r>
            <a:endParaRPr lang="en-IE" sz="1600" dirty="0"/>
          </a:p>
        </p:txBody>
      </p:sp>
    </p:spTree>
    <p:extLst>
      <p:ext uri="{BB962C8B-B14F-4D97-AF65-F5344CB8AC3E}">
        <p14:creationId xmlns:p14="http://schemas.microsoft.com/office/powerpoint/2010/main" val="25319421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multi colored wooden stick figures">
            <a:extLst>
              <a:ext uri="{FF2B5EF4-FFF2-40B4-BE49-F238E27FC236}">
                <a16:creationId xmlns:a16="http://schemas.microsoft.com/office/drawing/2014/main" id="{1B047D93-2C1A-2D61-863E-E32EBE1B377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299" r="20299"/>
          <a:stretch>
            <a:fillRect/>
          </a:stretch>
        </p:blipFill>
        <p:spPr/>
      </p:pic>
      <p:sp>
        <p:nvSpPr>
          <p:cNvPr id="3" name="Text Placeholder 2">
            <a:extLst>
              <a:ext uri="{FF2B5EF4-FFF2-40B4-BE49-F238E27FC236}">
                <a16:creationId xmlns:a16="http://schemas.microsoft.com/office/drawing/2014/main" id="{279F8615-E5FF-4731-54A8-B0D9C2F930A2}"/>
              </a:ext>
            </a:extLst>
          </p:cNvPr>
          <p:cNvSpPr>
            <a:spLocks noGrp="1"/>
          </p:cNvSpPr>
          <p:nvPr>
            <p:ph type="body" sz="quarter" idx="30"/>
          </p:nvPr>
        </p:nvSpPr>
        <p:spPr>
          <a:xfrm>
            <a:off x="6208391" y="291885"/>
            <a:ext cx="5875886" cy="845139"/>
          </a:xfrm>
        </p:spPr>
        <p:txBody>
          <a:bodyPr/>
          <a:lstStyle/>
          <a:p>
            <a:r>
              <a:rPr lang="en-IE" sz="2800" dirty="0"/>
              <a:t>FÖRDERUNG VON NACHHALTIGKEIT UND INKLUSIVITÄT</a:t>
            </a:r>
          </a:p>
        </p:txBody>
      </p:sp>
      <p:sp>
        <p:nvSpPr>
          <p:cNvPr id="4" name="Text Placeholder 3">
            <a:extLst>
              <a:ext uri="{FF2B5EF4-FFF2-40B4-BE49-F238E27FC236}">
                <a16:creationId xmlns:a16="http://schemas.microsoft.com/office/drawing/2014/main" id="{93A88577-5D92-0A07-CB7A-FEC814F6A30F}"/>
              </a:ext>
            </a:extLst>
          </p:cNvPr>
          <p:cNvSpPr>
            <a:spLocks noGrp="1"/>
          </p:cNvSpPr>
          <p:nvPr>
            <p:ph type="body" sz="quarter" idx="48"/>
          </p:nvPr>
        </p:nvSpPr>
        <p:spPr>
          <a:xfrm>
            <a:off x="6316116" y="1624493"/>
            <a:ext cx="5142753" cy="3989519"/>
          </a:xfrm>
        </p:spPr>
        <p:txBody>
          <a:bodyPr/>
          <a:lstStyle/>
          <a:p>
            <a:pPr algn="just"/>
            <a:r>
              <a:rPr lang="en-GB" sz="1600" dirty="0"/>
              <a:t>Darüber hinaus fördern sparsame Innovationen </a:t>
            </a:r>
            <a:r>
              <a:rPr lang="en-GB" sz="1600" b="1" dirty="0"/>
              <a:t>Kreativität und Unternehmergeist</a:t>
            </a:r>
            <a:r>
              <a:rPr lang="en-GB" sz="1600" dirty="0"/>
              <a:t>, indem sie konventionelle Problemlösungsansätze in Frage stellen. </a:t>
            </a:r>
          </a:p>
          <a:p>
            <a:pPr algn="just"/>
            <a:endParaRPr lang="en-GB" sz="1600" dirty="0"/>
          </a:p>
          <a:p>
            <a:pPr algn="just"/>
            <a:r>
              <a:rPr lang="en-GB" sz="1600" dirty="0"/>
              <a:t>Dies schafft eine Kultur der kontinuierlichen Verbesserung und Anpassung, die für eine nachhaltige Entwicklung unerlässlich ist. Frugal stärkt auch die lokalen Gemeinschaften, da sie an Autonomie gewinnen und an der Entwicklung von Lösungen für die Probleme in ihrer eigenen Gemeinschaft beteiligt sind</a:t>
            </a:r>
          </a:p>
          <a:p>
            <a:pPr algn="just"/>
            <a:endParaRPr lang="en-GB" sz="1600" dirty="0"/>
          </a:p>
          <a:p>
            <a:pPr algn="just"/>
            <a:r>
              <a:rPr lang="en-GB" sz="1600" dirty="0"/>
              <a:t>Dieser lokal ausgerichtete Ansatz stellt sicher, dass die Vorteile innerhalb der Gemeinden verteilt werden, was die wirtschaftliche Widerstandsfähigkeit und Nachhaltigkeit erhöht. </a:t>
            </a:r>
            <a:endParaRPr lang="en-IE" sz="1600" dirty="0"/>
          </a:p>
        </p:txBody>
      </p:sp>
    </p:spTree>
    <p:extLst>
      <p:ext uri="{BB962C8B-B14F-4D97-AF65-F5344CB8AC3E}">
        <p14:creationId xmlns:p14="http://schemas.microsoft.com/office/powerpoint/2010/main" val="3315965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1482061" y="450972"/>
            <a:ext cx="9227869" cy="804265"/>
          </a:xfrm>
        </p:spPr>
        <p:txBody>
          <a:bodyPr/>
          <a:lstStyle/>
          <a:p>
            <a:pPr algn="ctr"/>
            <a:r>
              <a:rPr lang="en-US" dirty="0"/>
              <a:t>ANGLEICHUNG AN DIE ZIELE FÜR NACHHALTIGE ENTWICKLUNG &amp;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641268" y="1990388"/>
            <a:ext cx="10830296" cy="4439577"/>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2000" b="1" dirty="0"/>
              <a:t>:</a:t>
            </a:r>
            <a:r>
              <a:rPr lang="en-GB" sz="2000" dirty="0"/>
              <a:t> Genügsame Innovationen fördern eine nachhaltige Industrialisierung und eine inklusive und nachhaltige Infrastrukturentwicklung.</a:t>
            </a:r>
          </a:p>
          <a:p>
            <a:pPr algn="just">
              <a:buFont typeface="+mj-lt"/>
              <a:buAutoNum type="arabicPeriod"/>
            </a:pPr>
            <a:endParaRPr lang="en-GB" sz="14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b="1" dirty="0"/>
              <a:t>:</a:t>
            </a:r>
            <a:r>
              <a:rPr lang="en-GB" sz="2000" dirty="0"/>
              <a:t> Diese Innovationen unterstützen die effiziente Nutzung von Ressourcen und fördern nachhaltige Konsum- und Produktionsmuster.</a:t>
            </a:r>
          </a:p>
          <a:p>
            <a:pPr algn="just"/>
            <a:endParaRPr lang="en-GB" sz="14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EntreComp 1.2 Kreativität</a:t>
            </a:r>
            <a:r>
              <a:rPr lang="en-GB" sz="2000" b="1" dirty="0"/>
              <a:t>:</a:t>
            </a:r>
            <a:r>
              <a:rPr lang="en-GB" sz="2000" dirty="0"/>
              <a:t> Entwickeln Sie kreative und zielgerichtete Ideen, indem Sie innovative, sparsame Lösungen und deren praktische Anwendung erforschen.</a:t>
            </a:r>
          </a:p>
          <a:p>
            <a:pPr algn="just"/>
            <a:endParaRPr lang="en-GB" sz="1400" b="1"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EntreComp 1.4 Vision</a:t>
            </a:r>
            <a:r>
              <a:rPr lang="en-GB" sz="2000" b="1" dirty="0"/>
              <a:t>:</a:t>
            </a:r>
            <a:r>
              <a:rPr lang="en-GB" sz="2000" dirty="0"/>
              <a:t> Wir arbeiten an der Entwicklung und Umsetzung einer nachhaltigen Vision durch sparsame Innovationen, die mit langfristigen Nachhaltigkeitszielen in Einklang stehen.</a:t>
            </a:r>
          </a:p>
          <a:p>
            <a:pPr algn="just"/>
            <a:endParaRPr lang="en-GB" sz="14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EntreComp 2.4 Motivation und Beharrlichkeit</a:t>
            </a:r>
            <a:r>
              <a:rPr lang="en-GB" sz="2000" b="1" dirty="0"/>
              <a:t>:</a:t>
            </a:r>
            <a:r>
              <a:rPr lang="en-GB" sz="2000" dirty="0"/>
              <a:t> Entwickeln Sie die Fähigkeit, Herausforderungen zu meistern und bei der Umsetzung sparsamer Lösungen im Geschäftsbetrieb beharrlich zu bleiben.</a:t>
            </a:r>
          </a:p>
        </p:txBody>
      </p:sp>
      <p:pic>
        <p:nvPicPr>
          <p:cNvPr id="4" name="Picture 2">
            <a:extLst>
              <a:ext uri="{FF2B5EF4-FFF2-40B4-BE49-F238E27FC236}">
                <a16:creationId xmlns:a16="http://schemas.microsoft.com/office/drawing/2014/main" id="{CE07405F-1FBB-FB01-4E35-829F47D50DF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21" y="386632"/>
            <a:ext cx="14287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E4909D8-7B30-4135-BCCD-3A616E8C9364}"/>
              </a:ext>
            </a:extLst>
          </p:cNvPr>
          <p:cNvPicPr>
            <a:picLocks noChangeAspect="1"/>
          </p:cNvPicPr>
          <p:nvPr/>
        </p:nvPicPr>
        <p:blipFill>
          <a:blip r:embed="rId6"/>
          <a:stretch>
            <a:fillRect/>
          </a:stretch>
        </p:blipFill>
        <p:spPr>
          <a:xfrm>
            <a:off x="9926498" y="444797"/>
            <a:ext cx="2149845" cy="1195578"/>
          </a:xfrm>
          <a:prstGeom prst="rect">
            <a:avLst/>
          </a:prstGeom>
        </p:spPr>
      </p:pic>
    </p:spTree>
    <p:extLst>
      <p:ext uri="{BB962C8B-B14F-4D97-AF65-F5344CB8AC3E}">
        <p14:creationId xmlns:p14="http://schemas.microsoft.com/office/powerpoint/2010/main" val="9896273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F3764C-14D2-B8E3-CBF3-59A156886B5A}"/>
              </a:ext>
            </a:extLst>
          </p:cNvPr>
          <p:cNvSpPr>
            <a:spLocks noGrp="1"/>
          </p:cNvSpPr>
          <p:nvPr>
            <p:ph type="body" sz="quarter" idx="30"/>
          </p:nvPr>
        </p:nvSpPr>
        <p:spPr/>
        <p:txBody>
          <a:bodyPr/>
          <a:lstStyle/>
          <a:p>
            <a:r>
              <a:rPr lang="en-IE" dirty="0"/>
              <a:t>Weitere Ressourcen</a:t>
            </a:r>
          </a:p>
        </p:txBody>
      </p:sp>
      <p:sp>
        <p:nvSpPr>
          <p:cNvPr id="3" name="Text Placeholder 2">
            <a:extLst>
              <a:ext uri="{FF2B5EF4-FFF2-40B4-BE49-F238E27FC236}">
                <a16:creationId xmlns:a16="http://schemas.microsoft.com/office/drawing/2014/main" id="{877CDE01-34A3-3811-D042-7CE3CF0A0061}"/>
              </a:ext>
            </a:extLst>
          </p:cNvPr>
          <p:cNvSpPr>
            <a:spLocks noGrp="1"/>
          </p:cNvSpPr>
          <p:nvPr>
            <p:ph type="body" sz="quarter" idx="48"/>
          </p:nvPr>
        </p:nvSpPr>
        <p:spPr/>
        <p:txBody>
          <a:bodyPr/>
          <a:lstStyle/>
          <a:p>
            <a:endParaRPr lang="en-IE" dirty="0"/>
          </a:p>
          <a:p>
            <a:r>
              <a:rPr lang="en-GB" b="1" dirty="0"/>
              <a:t>Frugal Innovation ist sowohl eine Denkweise als auch eine Reihe von Techniken, die es Unternehmern ermöglichen, trotz begrenzter Ressourcen innovativ zu sein. - </a:t>
            </a:r>
            <a:r>
              <a:rPr lang="en-GB" b="0" i="0" dirty="0">
                <a:solidFill>
                  <a:srgbClr val="1F1F1F"/>
                </a:solidFill>
                <a:effectLst/>
                <a:latin typeface="ElsevierGulliver"/>
                <a:hlinkClick r:id="rId3"/>
              </a:rPr>
              <a:t>Mehr </a:t>
            </a:r>
            <a:r>
              <a:rPr lang="en-GB" dirty="0">
                <a:solidFill>
                  <a:srgbClr val="1F1F1F"/>
                </a:solidFill>
                <a:latin typeface="ElsevierGulliver"/>
                <a:hlinkClick r:id="rId3"/>
              </a:rPr>
              <a:t>erfahren</a:t>
            </a:r>
            <a:endParaRPr lang="en-GB" b="0" i="0" dirty="0">
              <a:solidFill>
                <a:srgbClr val="1F1F1F"/>
              </a:solidFill>
              <a:effectLst/>
              <a:latin typeface="ElsevierGulliver"/>
            </a:endParaRPr>
          </a:p>
          <a:p>
            <a:endParaRPr lang="en-IE" dirty="0">
              <a:hlinkClick r:id="rId4"/>
            </a:endParaRPr>
          </a:p>
          <a:p>
            <a:endParaRPr lang="en-IE" dirty="0">
              <a:hlinkClick r:id="rId4"/>
            </a:endParaRPr>
          </a:p>
          <a:p>
            <a:r>
              <a:rPr lang="en-IE" dirty="0">
                <a:hlinkClick r:id="rId4"/>
              </a:rPr>
              <a:t>Ep 8: Sparsame Innovation | Innovation und Unternehmertum | </a:t>
            </a:r>
            <a:r>
              <a:rPr lang="en-IE" dirty="0" err="1">
                <a:hlinkClick r:id="rId4"/>
              </a:rPr>
              <a:t>SkillUp </a:t>
            </a:r>
            <a:r>
              <a:rPr lang="en-IE" dirty="0">
                <a:hlinkClick r:id="rId4"/>
              </a:rPr>
              <a:t>(youtube.com)</a:t>
            </a:r>
            <a:endParaRPr lang="en-IE" dirty="0"/>
          </a:p>
        </p:txBody>
      </p:sp>
      <p:sp>
        <p:nvSpPr>
          <p:cNvPr id="4" name="Picture Placeholder 3">
            <a:extLst>
              <a:ext uri="{FF2B5EF4-FFF2-40B4-BE49-F238E27FC236}">
                <a16:creationId xmlns:a16="http://schemas.microsoft.com/office/drawing/2014/main" id="{5853AF0B-1870-97EA-8E04-DCA674638D15}"/>
              </a:ext>
            </a:extLst>
          </p:cNvPr>
          <p:cNvSpPr>
            <a:spLocks noGrp="1"/>
          </p:cNvSpPr>
          <p:nvPr>
            <p:ph type="pic" sz="quarter" idx="10"/>
          </p:nvPr>
        </p:nvSpPr>
        <p:spPr/>
        <p:txBody>
          <a:bodyPr/>
          <a:lstStyle/>
          <a:p>
            <a:endParaRPr lang="en-IE"/>
          </a:p>
        </p:txBody>
      </p:sp>
      <p:pic>
        <p:nvPicPr>
          <p:cNvPr id="5" name="Online Media 4" title="Ep 8: Frugal Innovation | Innovation and Entrepreneurship | SkillUp">
            <a:hlinkClick r:id="" action="ppaction://media"/>
            <a:extLst>
              <a:ext uri="{FF2B5EF4-FFF2-40B4-BE49-F238E27FC236}">
                <a16:creationId xmlns:a16="http://schemas.microsoft.com/office/drawing/2014/main" id="{BC94AECE-1544-1CB5-9EF6-196737813561}"/>
              </a:ext>
            </a:extLst>
          </p:cNvPr>
          <p:cNvPicPr>
            <a:picLocks noRot="1" noChangeAspect="1"/>
          </p:cNvPicPr>
          <p:nvPr>
            <a:videoFile r:link="rId1"/>
          </p:nvPr>
        </p:nvPicPr>
        <p:blipFill>
          <a:blip r:embed="rId5"/>
          <a:stretch>
            <a:fillRect/>
          </a:stretch>
        </p:blipFill>
        <p:spPr>
          <a:xfrm>
            <a:off x="5861785" y="1878432"/>
            <a:ext cx="6330215" cy="4220143"/>
          </a:xfrm>
          <a:prstGeom prst="rect">
            <a:avLst/>
          </a:prstGeom>
        </p:spPr>
      </p:pic>
    </p:spTree>
    <p:extLst>
      <p:ext uri="{BB962C8B-B14F-4D97-AF65-F5344CB8AC3E}">
        <p14:creationId xmlns:p14="http://schemas.microsoft.com/office/powerpoint/2010/main" val="2814171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2" y="4544736"/>
            <a:ext cx="1872695" cy="398804"/>
            <a:chOff x="10161196" y="4811882"/>
            <a:chExt cx="1318772"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F5C235-E5FE-1E4C-5D61-33E00AEBABD5}"/>
              </a:ext>
            </a:extLst>
          </p:cNvPr>
          <p:cNvSpPr>
            <a:spLocks noGrp="1"/>
          </p:cNvSpPr>
          <p:nvPr>
            <p:ph type="body" sz="quarter" idx="49"/>
          </p:nvPr>
        </p:nvSpPr>
        <p:spPr/>
        <p:txBody>
          <a:bodyPr/>
          <a:lstStyle/>
          <a:p>
            <a:r>
              <a:rPr lang="en-GB" b="1" dirty="0"/>
              <a:t>Iterative Entwicklung</a:t>
            </a:r>
            <a:endParaRPr lang="en-IE" dirty="0"/>
          </a:p>
        </p:txBody>
      </p:sp>
      <p:sp>
        <p:nvSpPr>
          <p:cNvPr id="3" name="Text Placeholder 2">
            <a:extLst>
              <a:ext uri="{FF2B5EF4-FFF2-40B4-BE49-F238E27FC236}">
                <a16:creationId xmlns:a16="http://schemas.microsoft.com/office/drawing/2014/main" id="{8FEBB843-3485-0F68-BD01-E09BAEA252FA}"/>
              </a:ext>
            </a:extLst>
          </p:cNvPr>
          <p:cNvSpPr>
            <a:spLocks noGrp="1"/>
          </p:cNvSpPr>
          <p:nvPr>
            <p:ph type="body" sz="quarter" idx="50"/>
          </p:nvPr>
        </p:nvSpPr>
        <p:spPr/>
        <p:txBody>
          <a:bodyPr/>
          <a:lstStyle/>
          <a:p>
            <a:pPr algn="just"/>
            <a:r>
              <a:rPr lang="en-GB" sz="2000" dirty="0"/>
              <a:t>Projekte werden in kurze Iterationen oder Sprints unterteilt, die in der Regel 1-4 Wochen dauern und in denen funktionsübergreifende Teams zusammenarbeiten, um funktionierende Produktinkremente zu liefern. Dieser wiederkehrende Ansatz ermöglicht die frühzeitige Erkennung von Problemen, fördert die Transparenz und erleichtert Prozesskorrekturen.</a:t>
            </a:r>
            <a:endParaRPr lang="en-IE" sz="2000" dirty="0"/>
          </a:p>
        </p:txBody>
      </p:sp>
      <p:sp>
        <p:nvSpPr>
          <p:cNvPr id="4" name="Text Placeholder 3">
            <a:extLst>
              <a:ext uri="{FF2B5EF4-FFF2-40B4-BE49-F238E27FC236}">
                <a16:creationId xmlns:a16="http://schemas.microsoft.com/office/drawing/2014/main" id="{B242744D-9A37-6648-2D79-AAD3947652AE}"/>
              </a:ext>
            </a:extLst>
          </p:cNvPr>
          <p:cNvSpPr>
            <a:spLocks noGrp="1"/>
          </p:cNvSpPr>
          <p:nvPr>
            <p:ph type="body" sz="quarter" idx="51"/>
          </p:nvPr>
        </p:nvSpPr>
        <p:spPr/>
        <p:txBody>
          <a:bodyPr/>
          <a:lstStyle/>
          <a:p>
            <a:r>
              <a:rPr lang="en-GB" b="1" dirty="0"/>
              <a:t>Selbstorganisierende Teams</a:t>
            </a:r>
            <a:endParaRPr lang="en-IE" dirty="0"/>
          </a:p>
        </p:txBody>
      </p:sp>
      <p:sp>
        <p:nvSpPr>
          <p:cNvPr id="5" name="Text Placeholder 4">
            <a:extLst>
              <a:ext uri="{FF2B5EF4-FFF2-40B4-BE49-F238E27FC236}">
                <a16:creationId xmlns:a16="http://schemas.microsoft.com/office/drawing/2014/main" id="{A3A047E1-FC0A-8317-C35A-8D54D371071A}"/>
              </a:ext>
            </a:extLst>
          </p:cNvPr>
          <p:cNvSpPr>
            <a:spLocks noGrp="1"/>
          </p:cNvSpPr>
          <p:nvPr>
            <p:ph type="body" sz="quarter" idx="52"/>
          </p:nvPr>
        </p:nvSpPr>
        <p:spPr/>
        <p:txBody>
          <a:bodyPr/>
          <a:lstStyle/>
          <a:p>
            <a:pPr algn="just"/>
            <a:r>
              <a:rPr lang="en-GB" sz="2000" dirty="0"/>
              <a:t>Agile Teams sind in der Lage, Entscheidungen gemeinsam zu treffen und sich ohne Mikromanagement an veränderte Umstände anzupassen. Diese Autonomie fördert Innovation, Verantwortlichkeit und ein Gefühl der Eigenverantwortung unter den Teammitgliedern</a:t>
            </a:r>
            <a:r>
              <a:rPr lang="en-GB" sz="1800" dirty="0"/>
              <a:t>.</a:t>
            </a:r>
            <a:endParaRPr lang="en-IE" sz="1800" dirty="0"/>
          </a:p>
        </p:txBody>
      </p:sp>
      <p:pic>
        <p:nvPicPr>
          <p:cNvPr id="6" name="Picture Placeholder 8" descr="Two colleagues planning on board with sticky notes">
            <a:extLst>
              <a:ext uri="{FF2B5EF4-FFF2-40B4-BE49-F238E27FC236}">
                <a16:creationId xmlns:a16="http://schemas.microsoft.com/office/drawing/2014/main" id="{3908A003-7D2A-E0CE-C42B-5A3E1FE92475}"/>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44" r="11844"/>
          <a:stretch>
            <a:fillRect/>
          </a:stretch>
        </p:blipFill>
        <p:spPr>
          <a:xfrm>
            <a:off x="1436688" y="984250"/>
            <a:ext cx="1839912" cy="1608138"/>
          </a:xfrm>
        </p:spPr>
      </p:pic>
      <p:pic>
        <p:nvPicPr>
          <p:cNvPr id="8" name="Picture Placeholder 10">
            <a:extLst>
              <a:ext uri="{FF2B5EF4-FFF2-40B4-BE49-F238E27FC236}">
                <a16:creationId xmlns:a16="http://schemas.microsoft.com/office/drawing/2014/main" id="{3ED47B92-F3B4-2F67-023C-E139A6DC10BD}"/>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t="20837" b="20837"/>
          <a:stretch>
            <a:fillRect/>
          </a:stretch>
        </p:blipFill>
        <p:spPr>
          <a:xfrm>
            <a:off x="1436688" y="3657600"/>
            <a:ext cx="1839912" cy="1608138"/>
          </a:xfrm>
        </p:spPr>
      </p:pic>
    </p:spTree>
    <p:extLst>
      <p:ext uri="{BB962C8B-B14F-4D97-AF65-F5344CB8AC3E}">
        <p14:creationId xmlns:p14="http://schemas.microsoft.com/office/powerpoint/2010/main" val="2452938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2.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customXml/itemProps3.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7646</Words>
  <Application>Microsoft Office PowerPoint</Application>
  <PresentationFormat>Widescreen</PresentationFormat>
  <Paragraphs>512</Paragraphs>
  <Slides>84</Slides>
  <Notes>13</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92" baseType="lpstr">
      <vt:lpstr>Arial</vt:lpstr>
      <vt:lpstr>Calibri</vt:lpstr>
      <vt:lpstr>ElsevierGulliver</vt:lpstr>
      <vt:lpstr>ff-real-text-pro</vt:lpstr>
      <vt:lpstr>Montserrat</vt:lpstr>
      <vt:lpstr>Open San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C2773E9198290CE32583A3D5F44F0CD1</cp:keywords>
  <cp:lastModifiedBy>aine hamill</cp:lastModifiedBy>
  <cp:revision>431</cp:revision>
  <dcterms:created xsi:type="dcterms:W3CDTF">2021-06-15T11:45:52Z</dcterms:created>
  <dcterms:modified xsi:type="dcterms:W3CDTF">2025-05-16T14:5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